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</p:sldMasterIdLst>
  <p:notesMasterIdLst>
    <p:notesMasterId r:id="rId32"/>
  </p:notesMasterIdLst>
  <p:handoutMasterIdLst>
    <p:handoutMasterId r:id="rId33"/>
  </p:handoutMasterIdLst>
  <p:sldIdLst>
    <p:sldId id="531" r:id="rId6"/>
    <p:sldId id="563" r:id="rId7"/>
    <p:sldId id="564" r:id="rId8"/>
    <p:sldId id="583" r:id="rId9"/>
    <p:sldId id="565" r:id="rId10"/>
    <p:sldId id="584" r:id="rId11"/>
    <p:sldId id="585" r:id="rId12"/>
    <p:sldId id="560" r:id="rId13"/>
    <p:sldId id="561" r:id="rId14"/>
    <p:sldId id="566" r:id="rId15"/>
    <p:sldId id="567" r:id="rId16"/>
    <p:sldId id="568" r:id="rId17"/>
    <p:sldId id="569" r:id="rId18"/>
    <p:sldId id="570" r:id="rId19"/>
    <p:sldId id="571" r:id="rId20"/>
    <p:sldId id="572" r:id="rId21"/>
    <p:sldId id="581" r:id="rId22"/>
    <p:sldId id="582" r:id="rId23"/>
    <p:sldId id="573" r:id="rId24"/>
    <p:sldId id="574" r:id="rId25"/>
    <p:sldId id="575" r:id="rId26"/>
    <p:sldId id="587" r:id="rId27"/>
    <p:sldId id="588" r:id="rId28"/>
    <p:sldId id="577" r:id="rId29"/>
    <p:sldId id="578" r:id="rId30"/>
    <p:sldId id="579" r:id="rId31"/>
  </p:sldIdLst>
  <p:sldSz cx="12192000" cy="6858000"/>
  <p:notesSz cx="6797675" cy="9926638"/>
  <p:custDataLst>
    <p:tags r:id="rId3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718EDE5-EE13-438F-9EB3-9F6B4A4022C8}">
          <p14:sldIdLst>
            <p14:sldId id="531"/>
          </p14:sldIdLst>
        </p14:section>
        <p14:section name="Başlıksız Bölüm" id="{784F2312-3991-4947-B132-0E50F3665308}">
          <p14:sldIdLst>
            <p14:sldId id="563"/>
            <p14:sldId id="564"/>
            <p14:sldId id="583"/>
            <p14:sldId id="565"/>
            <p14:sldId id="584"/>
            <p14:sldId id="585"/>
            <p14:sldId id="560"/>
            <p14:sldId id="561"/>
            <p14:sldId id="566"/>
            <p14:sldId id="567"/>
            <p14:sldId id="568"/>
            <p14:sldId id="569"/>
            <p14:sldId id="570"/>
            <p14:sldId id="571"/>
            <p14:sldId id="572"/>
            <p14:sldId id="581"/>
            <p14:sldId id="582"/>
            <p14:sldId id="573"/>
            <p14:sldId id="574"/>
            <p14:sldId id="575"/>
            <p14:sldId id="587"/>
            <p14:sldId id="588"/>
            <p14:sldId id="577"/>
            <p14:sldId id="578"/>
            <p14:sldId id="57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UTLU UNUBOL" initials="MU" lastIdx="1" clrIdx="0"/>
  <p:cmAuthor id="1" name="TUFAN SAHIN" initials="TS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DA7"/>
    <a:srgbClr val="000000"/>
    <a:srgbClr val="D9DCDC"/>
    <a:srgbClr val="81B7FF"/>
    <a:srgbClr val="C8C8C8"/>
    <a:srgbClr val="D2D7D7"/>
    <a:srgbClr val="C8C9D8"/>
    <a:srgbClr val="20DFD4"/>
    <a:srgbClr val="2AEB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212" autoAdjust="0"/>
    <p:restoredTop sz="90934" autoAdjust="0"/>
  </p:normalViewPr>
  <p:slideViewPr>
    <p:cSldViewPr snapToGrid="0" snapToObjects="1">
      <p:cViewPr varScale="1">
        <p:scale>
          <a:sx n="109" d="100"/>
          <a:sy n="109" d="100"/>
        </p:scale>
        <p:origin x="317" y="8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bleStyles" Target="tableStyles.xml"/><Relationship Id="rId21" Type="http://schemas.openxmlformats.org/officeDocument/2006/relationships/slide" Target="slides/slide16.xml"/><Relationship Id="rId34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commentAuthors" Target="commentAuthor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DECB40-86AE-A44F-BEFC-FCB8C431FC85}" type="datetime1">
              <a:rPr lang="tr-TR" smtClean="0"/>
              <a:t>1.06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E32CA7-ACBB-4A4E-AA39-53EA67AB40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72404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01A488-BFA2-094B-B4DF-F8F6C3F76F9F}" type="datetime1">
              <a:rPr lang="tr-TR" smtClean="0"/>
              <a:t>1.06.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84C61A-8276-BD41-8863-7E3796606F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76119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Rectangle 87"/>
          <p:cNvSpPr/>
          <p:nvPr userDrawn="1"/>
        </p:nvSpPr>
        <p:spPr>
          <a:xfrm>
            <a:off x="0" y="0"/>
            <a:ext cx="12192000" cy="5538651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70000">
                <a:srgbClr val="005DA7"/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7" name="Freeform 146"/>
          <p:cNvSpPr>
            <a:spLocks noChangeArrowheads="1"/>
          </p:cNvSpPr>
          <p:nvPr userDrawn="1"/>
        </p:nvSpPr>
        <p:spPr bwMode="auto">
          <a:xfrm>
            <a:off x="0" y="1"/>
            <a:ext cx="12192000" cy="5538650"/>
          </a:xfrm>
          <a:custGeom>
            <a:avLst/>
            <a:gdLst>
              <a:gd name="connsiteX0" fmla="*/ 0 w 12192000"/>
              <a:gd name="connsiteY0" fmla="*/ 5361265 h 5538650"/>
              <a:gd name="connsiteX1" fmla="*/ 1803035 w 12192000"/>
              <a:gd name="connsiteY1" fmla="*/ 5538650 h 5538650"/>
              <a:gd name="connsiteX2" fmla="*/ 1651395 w 12192000"/>
              <a:gd name="connsiteY2" fmla="*/ 5538650 h 5538650"/>
              <a:gd name="connsiteX3" fmla="*/ 0 w 12192000"/>
              <a:gd name="connsiteY3" fmla="*/ 5375991 h 5538650"/>
              <a:gd name="connsiteX4" fmla="*/ 12192000 w 12192000"/>
              <a:gd name="connsiteY4" fmla="*/ 5361172 h 5538650"/>
              <a:gd name="connsiteX5" fmla="*/ 12192000 w 12192000"/>
              <a:gd name="connsiteY5" fmla="*/ 5375897 h 5538650"/>
              <a:gd name="connsiteX6" fmla="*/ 10539653 w 12192000"/>
              <a:gd name="connsiteY6" fmla="*/ 5538650 h 5538650"/>
              <a:gd name="connsiteX7" fmla="*/ 10388020 w 12192000"/>
              <a:gd name="connsiteY7" fmla="*/ 5538650 h 5538650"/>
              <a:gd name="connsiteX8" fmla="*/ 0 w 12192000"/>
              <a:gd name="connsiteY8" fmla="*/ 5056639 h 5538650"/>
              <a:gd name="connsiteX9" fmla="*/ 3245598 w 12192000"/>
              <a:gd name="connsiteY9" fmla="*/ 5538650 h 5538650"/>
              <a:gd name="connsiteX10" fmla="*/ 3144944 w 12192000"/>
              <a:gd name="connsiteY10" fmla="*/ 5538650 h 5538650"/>
              <a:gd name="connsiteX11" fmla="*/ 0 w 12192000"/>
              <a:gd name="connsiteY11" fmla="*/ 5071901 h 5538650"/>
              <a:gd name="connsiteX12" fmla="*/ 12192000 w 12192000"/>
              <a:gd name="connsiteY12" fmla="*/ 5056498 h 5538650"/>
              <a:gd name="connsiteX13" fmla="*/ 12192000 w 12192000"/>
              <a:gd name="connsiteY13" fmla="*/ 5071760 h 5538650"/>
              <a:gd name="connsiteX14" fmla="*/ 9046109 w 12192000"/>
              <a:gd name="connsiteY14" fmla="*/ 5538650 h 5538650"/>
              <a:gd name="connsiteX15" fmla="*/ 8945453 w 12192000"/>
              <a:gd name="connsiteY15" fmla="*/ 5538650 h 5538650"/>
              <a:gd name="connsiteX16" fmla="*/ 0 w 12192000"/>
              <a:gd name="connsiteY16" fmla="*/ 4748340 h 5538650"/>
              <a:gd name="connsiteX17" fmla="*/ 3970783 w 12192000"/>
              <a:gd name="connsiteY17" fmla="*/ 5538650 h 5538650"/>
              <a:gd name="connsiteX18" fmla="*/ 3890323 w 12192000"/>
              <a:gd name="connsiteY18" fmla="*/ 5538650 h 5538650"/>
              <a:gd name="connsiteX19" fmla="*/ 0 w 12192000"/>
              <a:gd name="connsiteY19" fmla="*/ 4764446 h 5538650"/>
              <a:gd name="connsiteX20" fmla="*/ 12192000 w 12192000"/>
              <a:gd name="connsiteY20" fmla="*/ 4748152 h 5538650"/>
              <a:gd name="connsiteX21" fmla="*/ 12192000 w 12192000"/>
              <a:gd name="connsiteY21" fmla="*/ 4764257 h 5538650"/>
              <a:gd name="connsiteX22" fmla="*/ 8300729 w 12192000"/>
              <a:gd name="connsiteY22" fmla="*/ 5538650 h 5538650"/>
              <a:gd name="connsiteX23" fmla="*/ 8220271 w 12192000"/>
              <a:gd name="connsiteY23" fmla="*/ 5538650 h 5538650"/>
              <a:gd name="connsiteX24" fmla="*/ 0 w 12192000"/>
              <a:gd name="connsiteY24" fmla="*/ 4434761 h 5538650"/>
              <a:gd name="connsiteX25" fmla="*/ 4407134 w 12192000"/>
              <a:gd name="connsiteY25" fmla="*/ 5538650 h 5538650"/>
              <a:gd name="connsiteX26" fmla="*/ 4344675 w 12192000"/>
              <a:gd name="connsiteY26" fmla="*/ 5538650 h 5538650"/>
              <a:gd name="connsiteX27" fmla="*/ 0 w 12192000"/>
              <a:gd name="connsiteY27" fmla="*/ 4450278 h 5538650"/>
              <a:gd name="connsiteX28" fmla="*/ 12192000 w 12192000"/>
              <a:gd name="connsiteY28" fmla="*/ 4434523 h 5538650"/>
              <a:gd name="connsiteX29" fmla="*/ 12192000 w 12192000"/>
              <a:gd name="connsiteY29" fmla="*/ 4450039 h 5538650"/>
              <a:gd name="connsiteX30" fmla="*/ 7846376 w 12192000"/>
              <a:gd name="connsiteY30" fmla="*/ 5538650 h 5538650"/>
              <a:gd name="connsiteX31" fmla="*/ 7783917 w 12192000"/>
              <a:gd name="connsiteY31" fmla="*/ 5538650 h 5538650"/>
              <a:gd name="connsiteX32" fmla="*/ 0 w 12192000"/>
              <a:gd name="connsiteY32" fmla="*/ 4112365 h 5538650"/>
              <a:gd name="connsiteX33" fmla="*/ 4700598 w 12192000"/>
              <a:gd name="connsiteY33" fmla="*/ 5538650 h 5538650"/>
              <a:gd name="connsiteX34" fmla="*/ 4648976 w 12192000"/>
              <a:gd name="connsiteY34" fmla="*/ 5538650 h 5538650"/>
              <a:gd name="connsiteX35" fmla="*/ 0 w 12192000"/>
              <a:gd name="connsiteY35" fmla="*/ 4127856 h 5538650"/>
              <a:gd name="connsiteX36" fmla="*/ 12192000 w 12192000"/>
              <a:gd name="connsiteY36" fmla="*/ 4111926 h 5538650"/>
              <a:gd name="connsiteX37" fmla="*/ 12192000 w 12192000"/>
              <a:gd name="connsiteY37" fmla="*/ 4127568 h 5538650"/>
              <a:gd name="connsiteX38" fmla="*/ 7542076 w 12192000"/>
              <a:gd name="connsiteY38" fmla="*/ 5538650 h 5538650"/>
              <a:gd name="connsiteX39" fmla="*/ 7488819 w 12192000"/>
              <a:gd name="connsiteY39" fmla="*/ 5538650 h 5538650"/>
              <a:gd name="connsiteX40" fmla="*/ 0 w 12192000"/>
              <a:gd name="connsiteY40" fmla="*/ 3780425 h 5538650"/>
              <a:gd name="connsiteX41" fmla="*/ 4916015 w 12192000"/>
              <a:gd name="connsiteY41" fmla="*/ 5538650 h 5538650"/>
              <a:gd name="connsiteX42" fmla="*/ 4867902 w 12192000"/>
              <a:gd name="connsiteY42" fmla="*/ 5538650 h 5538650"/>
              <a:gd name="connsiteX43" fmla="*/ 0 w 12192000"/>
              <a:gd name="connsiteY43" fmla="*/ 3795622 h 5538650"/>
              <a:gd name="connsiteX44" fmla="*/ 12192000 w 12192000"/>
              <a:gd name="connsiteY44" fmla="*/ 3780085 h 5538650"/>
              <a:gd name="connsiteX45" fmla="*/ 12192000 w 12192000"/>
              <a:gd name="connsiteY45" fmla="*/ 3794601 h 5538650"/>
              <a:gd name="connsiteX46" fmla="*/ 7321249 w 12192000"/>
              <a:gd name="connsiteY46" fmla="*/ 5538650 h 5538650"/>
              <a:gd name="connsiteX47" fmla="*/ 7275037 w 12192000"/>
              <a:gd name="connsiteY47" fmla="*/ 5538650 h 5538650"/>
              <a:gd name="connsiteX48" fmla="*/ 0 w 12192000"/>
              <a:gd name="connsiteY48" fmla="*/ 3435799 h 5538650"/>
              <a:gd name="connsiteX49" fmla="*/ 5077278 w 12192000"/>
              <a:gd name="connsiteY49" fmla="*/ 5538650 h 5538650"/>
              <a:gd name="connsiteX50" fmla="*/ 5037506 w 12192000"/>
              <a:gd name="connsiteY50" fmla="*/ 5538650 h 5538650"/>
              <a:gd name="connsiteX51" fmla="*/ 0 w 12192000"/>
              <a:gd name="connsiteY51" fmla="*/ 3451269 h 5538650"/>
              <a:gd name="connsiteX52" fmla="*/ 12192000 w 12192000"/>
              <a:gd name="connsiteY52" fmla="*/ 3435405 h 5538650"/>
              <a:gd name="connsiteX53" fmla="*/ 12192000 w 12192000"/>
              <a:gd name="connsiteY53" fmla="*/ 3450875 h 5538650"/>
              <a:gd name="connsiteX54" fmla="*/ 7153546 w 12192000"/>
              <a:gd name="connsiteY54" fmla="*/ 5538650 h 5538650"/>
              <a:gd name="connsiteX55" fmla="*/ 7113776 w 12192000"/>
              <a:gd name="connsiteY55" fmla="*/ 5538650 h 5538650"/>
              <a:gd name="connsiteX56" fmla="*/ 0 w 12192000"/>
              <a:gd name="connsiteY56" fmla="*/ 3077379 h 5538650"/>
              <a:gd name="connsiteX57" fmla="*/ 5206769 w 12192000"/>
              <a:gd name="connsiteY57" fmla="*/ 5538650 h 5538650"/>
              <a:gd name="connsiteX58" fmla="*/ 5168362 w 12192000"/>
              <a:gd name="connsiteY58" fmla="*/ 5538650 h 5538650"/>
              <a:gd name="connsiteX59" fmla="*/ 0 w 12192000"/>
              <a:gd name="connsiteY59" fmla="*/ 3093896 h 5538650"/>
              <a:gd name="connsiteX60" fmla="*/ 12192000 w 12192000"/>
              <a:gd name="connsiteY60" fmla="*/ 3076929 h 5538650"/>
              <a:gd name="connsiteX61" fmla="*/ 12192000 w 12192000"/>
              <a:gd name="connsiteY61" fmla="*/ 3093447 h 5538650"/>
              <a:gd name="connsiteX62" fmla="*/ 7022692 w 12192000"/>
              <a:gd name="connsiteY62" fmla="*/ 5538650 h 5538650"/>
              <a:gd name="connsiteX63" fmla="*/ 6984285 w 12192000"/>
              <a:gd name="connsiteY63" fmla="*/ 5538650 h 5538650"/>
              <a:gd name="connsiteX64" fmla="*/ 0 w 12192000"/>
              <a:gd name="connsiteY64" fmla="*/ 2702539 h 5538650"/>
              <a:gd name="connsiteX65" fmla="*/ 5306906 w 12192000"/>
              <a:gd name="connsiteY65" fmla="*/ 5538650 h 5538650"/>
              <a:gd name="connsiteX66" fmla="*/ 5276980 w 12192000"/>
              <a:gd name="connsiteY66" fmla="*/ 5538650 h 5538650"/>
              <a:gd name="connsiteX67" fmla="*/ 0 w 12192000"/>
              <a:gd name="connsiteY67" fmla="*/ 2719272 h 5538650"/>
              <a:gd name="connsiteX68" fmla="*/ 12192000 w 12192000"/>
              <a:gd name="connsiteY68" fmla="*/ 2702031 h 5538650"/>
              <a:gd name="connsiteX69" fmla="*/ 12192000 w 12192000"/>
              <a:gd name="connsiteY69" fmla="*/ 2718765 h 5538650"/>
              <a:gd name="connsiteX70" fmla="*/ 6914075 w 12192000"/>
              <a:gd name="connsiteY70" fmla="*/ 5538650 h 5538650"/>
              <a:gd name="connsiteX71" fmla="*/ 6884146 w 12192000"/>
              <a:gd name="connsiteY71" fmla="*/ 5538650 h 5538650"/>
              <a:gd name="connsiteX72" fmla="*/ 0 w 12192000"/>
              <a:gd name="connsiteY72" fmla="*/ 2306178 h 5538650"/>
              <a:gd name="connsiteX73" fmla="*/ 5393525 w 12192000"/>
              <a:gd name="connsiteY73" fmla="*/ 5538650 h 5538650"/>
              <a:gd name="connsiteX74" fmla="*/ 5362926 w 12192000"/>
              <a:gd name="connsiteY74" fmla="*/ 5538650 h 5538650"/>
              <a:gd name="connsiteX75" fmla="*/ 0 w 12192000"/>
              <a:gd name="connsiteY75" fmla="*/ 2323359 h 5538650"/>
              <a:gd name="connsiteX76" fmla="*/ 12192000 w 12192000"/>
              <a:gd name="connsiteY76" fmla="*/ 2305608 h 5538650"/>
              <a:gd name="connsiteX77" fmla="*/ 12192000 w 12192000"/>
              <a:gd name="connsiteY77" fmla="*/ 2322789 h 5538650"/>
              <a:gd name="connsiteX78" fmla="*/ 6828126 w 12192000"/>
              <a:gd name="connsiteY78" fmla="*/ 5538650 h 5538650"/>
              <a:gd name="connsiteX79" fmla="*/ 6797528 w 12192000"/>
              <a:gd name="connsiteY79" fmla="*/ 5538650 h 5538650"/>
              <a:gd name="connsiteX80" fmla="*/ 0 w 12192000"/>
              <a:gd name="connsiteY80" fmla="*/ 1886298 h 5538650"/>
              <a:gd name="connsiteX81" fmla="*/ 5464823 w 12192000"/>
              <a:gd name="connsiteY81" fmla="*/ 5538650 h 5538650"/>
              <a:gd name="connsiteX82" fmla="*/ 5438585 w 12192000"/>
              <a:gd name="connsiteY82" fmla="*/ 5538650 h 5538650"/>
              <a:gd name="connsiteX83" fmla="*/ 0 w 12192000"/>
              <a:gd name="connsiteY83" fmla="*/ 1905097 h 5538650"/>
              <a:gd name="connsiteX84" fmla="*/ 12192000 w 12192000"/>
              <a:gd name="connsiteY84" fmla="*/ 1885663 h 5538650"/>
              <a:gd name="connsiteX85" fmla="*/ 12192000 w 12192000"/>
              <a:gd name="connsiteY85" fmla="*/ 1904462 h 5538650"/>
              <a:gd name="connsiteX86" fmla="*/ 6752468 w 12192000"/>
              <a:gd name="connsiteY86" fmla="*/ 5538650 h 5538650"/>
              <a:gd name="connsiteX87" fmla="*/ 6726230 w 12192000"/>
              <a:gd name="connsiteY87" fmla="*/ 5538650 h 5538650"/>
              <a:gd name="connsiteX88" fmla="*/ 0 w 12192000"/>
              <a:gd name="connsiteY88" fmla="*/ 1439316 h 5538650"/>
              <a:gd name="connsiteX89" fmla="*/ 5528242 w 12192000"/>
              <a:gd name="connsiteY89" fmla="*/ 5538650 h 5538650"/>
              <a:gd name="connsiteX90" fmla="*/ 5501801 w 12192000"/>
              <a:gd name="connsiteY90" fmla="*/ 5538650 h 5538650"/>
              <a:gd name="connsiteX91" fmla="*/ 0 w 12192000"/>
              <a:gd name="connsiteY91" fmla="*/ 1458129 h 5538650"/>
              <a:gd name="connsiteX92" fmla="*/ 12192000 w 12192000"/>
              <a:gd name="connsiteY92" fmla="*/ 1438611 h 5538650"/>
              <a:gd name="connsiteX93" fmla="*/ 12192000 w 12192000"/>
              <a:gd name="connsiteY93" fmla="*/ 1457424 h 5538650"/>
              <a:gd name="connsiteX94" fmla="*/ 6689252 w 12192000"/>
              <a:gd name="connsiteY94" fmla="*/ 5538650 h 5538650"/>
              <a:gd name="connsiteX95" fmla="*/ 6662810 w 12192000"/>
              <a:gd name="connsiteY95" fmla="*/ 5538650 h 5538650"/>
              <a:gd name="connsiteX96" fmla="*/ 0 w 12192000"/>
              <a:gd name="connsiteY96" fmla="*/ 955098 h 5538650"/>
              <a:gd name="connsiteX97" fmla="*/ 5585473 w 12192000"/>
              <a:gd name="connsiteY97" fmla="*/ 5538650 h 5538650"/>
              <a:gd name="connsiteX98" fmla="*/ 5559044 w 12192000"/>
              <a:gd name="connsiteY98" fmla="*/ 5538650 h 5538650"/>
              <a:gd name="connsiteX99" fmla="*/ 0 w 12192000"/>
              <a:gd name="connsiteY99" fmla="*/ 976103 h 5538650"/>
              <a:gd name="connsiteX100" fmla="*/ 12192000 w 12192000"/>
              <a:gd name="connsiteY100" fmla="*/ 954319 h 5538650"/>
              <a:gd name="connsiteX101" fmla="*/ 12192000 w 12192000"/>
              <a:gd name="connsiteY101" fmla="*/ 975322 h 5538650"/>
              <a:gd name="connsiteX102" fmla="*/ 6632007 w 12192000"/>
              <a:gd name="connsiteY102" fmla="*/ 5538650 h 5538650"/>
              <a:gd name="connsiteX103" fmla="*/ 6605580 w 12192000"/>
              <a:gd name="connsiteY103" fmla="*/ 5538650 h 5538650"/>
              <a:gd name="connsiteX104" fmla="*/ 0 w 12192000"/>
              <a:gd name="connsiteY104" fmla="*/ 431985 h 5538650"/>
              <a:gd name="connsiteX105" fmla="*/ 5633364 w 12192000"/>
              <a:gd name="connsiteY105" fmla="*/ 5538650 h 5538650"/>
              <a:gd name="connsiteX106" fmla="*/ 5611239 w 12192000"/>
              <a:gd name="connsiteY106" fmla="*/ 5538650 h 5538650"/>
              <a:gd name="connsiteX107" fmla="*/ 0 w 12192000"/>
              <a:gd name="connsiteY107" fmla="*/ 454672 h 5538650"/>
              <a:gd name="connsiteX108" fmla="*/ 12192000 w 12192000"/>
              <a:gd name="connsiteY108" fmla="*/ 431124 h 5538650"/>
              <a:gd name="connsiteX109" fmla="*/ 12192000 w 12192000"/>
              <a:gd name="connsiteY109" fmla="*/ 453812 h 5538650"/>
              <a:gd name="connsiteX110" fmla="*/ 6579814 w 12192000"/>
              <a:gd name="connsiteY110" fmla="*/ 5538650 h 5538650"/>
              <a:gd name="connsiteX111" fmla="*/ 6557689 w 12192000"/>
              <a:gd name="connsiteY111" fmla="*/ 5538650 h 5538650"/>
              <a:gd name="connsiteX112" fmla="*/ 12053367 w 12192000"/>
              <a:gd name="connsiteY112" fmla="*/ 0 h 5538650"/>
              <a:gd name="connsiteX113" fmla="*/ 12074285 w 12192000"/>
              <a:gd name="connsiteY113" fmla="*/ 0 h 5538650"/>
              <a:gd name="connsiteX114" fmla="*/ 6535635 w 12192000"/>
              <a:gd name="connsiteY114" fmla="*/ 5538650 h 5538650"/>
              <a:gd name="connsiteX115" fmla="*/ 6514718 w 12192000"/>
              <a:gd name="connsiteY115" fmla="*/ 5538650 h 5538650"/>
              <a:gd name="connsiteX116" fmla="*/ 11493886 w 12192000"/>
              <a:gd name="connsiteY116" fmla="*/ 0 h 5538650"/>
              <a:gd name="connsiteX117" fmla="*/ 11516512 w 12192000"/>
              <a:gd name="connsiteY117" fmla="*/ 0 h 5538650"/>
              <a:gd name="connsiteX118" fmla="*/ 6495704 w 12192000"/>
              <a:gd name="connsiteY118" fmla="*/ 5538650 h 5538650"/>
              <a:gd name="connsiteX119" fmla="*/ 6475677 w 12192000"/>
              <a:gd name="connsiteY119" fmla="*/ 5538650 h 5538650"/>
              <a:gd name="connsiteX120" fmla="*/ 10983307 w 12192000"/>
              <a:gd name="connsiteY120" fmla="*/ 0 h 5538650"/>
              <a:gd name="connsiteX121" fmla="*/ 11004326 w 12192000"/>
              <a:gd name="connsiteY121" fmla="*/ 0 h 5538650"/>
              <a:gd name="connsiteX122" fmla="*/ 6459200 w 12192000"/>
              <a:gd name="connsiteY122" fmla="*/ 5538650 h 5538650"/>
              <a:gd name="connsiteX123" fmla="*/ 6437499 w 12192000"/>
              <a:gd name="connsiteY123" fmla="*/ 5538650 h 5538650"/>
              <a:gd name="connsiteX124" fmla="*/ 10511339 w 12192000"/>
              <a:gd name="connsiteY124" fmla="*/ 0 h 5538650"/>
              <a:gd name="connsiteX125" fmla="*/ 10530171 w 12192000"/>
              <a:gd name="connsiteY125" fmla="*/ 0 h 5538650"/>
              <a:gd name="connsiteX126" fmla="*/ 6423121 w 12192000"/>
              <a:gd name="connsiteY126" fmla="*/ 5538650 h 5538650"/>
              <a:gd name="connsiteX127" fmla="*/ 6403488 w 12192000"/>
              <a:gd name="connsiteY127" fmla="*/ 5538650 h 5538650"/>
              <a:gd name="connsiteX128" fmla="*/ 10073731 w 12192000"/>
              <a:gd name="connsiteY128" fmla="*/ 0 h 5538650"/>
              <a:gd name="connsiteX129" fmla="*/ 10092501 w 12192000"/>
              <a:gd name="connsiteY129" fmla="*/ 0 h 5538650"/>
              <a:gd name="connsiteX130" fmla="*/ 6390805 w 12192000"/>
              <a:gd name="connsiteY130" fmla="*/ 5538650 h 5538650"/>
              <a:gd name="connsiteX131" fmla="*/ 6373323 w 12192000"/>
              <a:gd name="connsiteY131" fmla="*/ 5538650 h 5538650"/>
              <a:gd name="connsiteX132" fmla="*/ 9664192 w 12192000"/>
              <a:gd name="connsiteY132" fmla="*/ 0 h 5538650"/>
              <a:gd name="connsiteX133" fmla="*/ 9681401 w 12192000"/>
              <a:gd name="connsiteY133" fmla="*/ 0 h 5538650"/>
              <a:gd name="connsiteX134" fmla="*/ 6361951 w 12192000"/>
              <a:gd name="connsiteY134" fmla="*/ 5538650 h 5538650"/>
              <a:gd name="connsiteX135" fmla="*/ 6343546 w 12192000"/>
              <a:gd name="connsiteY135" fmla="*/ 5538650 h 5538650"/>
              <a:gd name="connsiteX136" fmla="*/ 9276175 w 12192000"/>
              <a:gd name="connsiteY136" fmla="*/ 0 h 5538650"/>
              <a:gd name="connsiteX137" fmla="*/ 9293298 w 12192000"/>
              <a:gd name="connsiteY137" fmla="*/ 0 h 5538650"/>
              <a:gd name="connsiteX138" fmla="*/ 6333336 w 12192000"/>
              <a:gd name="connsiteY138" fmla="*/ 5538650 h 5538650"/>
              <a:gd name="connsiteX139" fmla="*/ 6315537 w 12192000"/>
              <a:gd name="connsiteY139" fmla="*/ 5538650 h 5538650"/>
              <a:gd name="connsiteX140" fmla="*/ 8909752 w 12192000"/>
              <a:gd name="connsiteY140" fmla="*/ 0 h 5538650"/>
              <a:gd name="connsiteX141" fmla="*/ 8925866 w 12192000"/>
              <a:gd name="connsiteY141" fmla="*/ 0 h 5538650"/>
              <a:gd name="connsiteX142" fmla="*/ 6306292 w 12192000"/>
              <a:gd name="connsiteY142" fmla="*/ 5538650 h 5538650"/>
              <a:gd name="connsiteX143" fmla="*/ 6289844 w 12192000"/>
              <a:gd name="connsiteY143" fmla="*/ 5538650 h 5538650"/>
              <a:gd name="connsiteX144" fmla="*/ 8559841 w 12192000"/>
              <a:gd name="connsiteY144" fmla="*/ 0 h 5538650"/>
              <a:gd name="connsiteX145" fmla="*/ 8575337 w 12192000"/>
              <a:gd name="connsiteY145" fmla="*/ 0 h 5538650"/>
              <a:gd name="connsiteX146" fmla="*/ 6281400 w 12192000"/>
              <a:gd name="connsiteY146" fmla="*/ 5538650 h 5538650"/>
              <a:gd name="connsiteX147" fmla="*/ 6264803 w 12192000"/>
              <a:gd name="connsiteY147" fmla="*/ 5538650 h 5538650"/>
              <a:gd name="connsiteX148" fmla="*/ 8222650 w 12192000"/>
              <a:gd name="connsiteY148" fmla="*/ 0 h 5538650"/>
              <a:gd name="connsiteX149" fmla="*/ 8237900 w 12192000"/>
              <a:gd name="connsiteY149" fmla="*/ 0 h 5538650"/>
              <a:gd name="connsiteX150" fmla="*/ 6256989 w 12192000"/>
              <a:gd name="connsiteY150" fmla="*/ 5538650 h 5538650"/>
              <a:gd name="connsiteX151" fmla="*/ 6239450 w 12192000"/>
              <a:gd name="connsiteY151" fmla="*/ 5538650 h 5538650"/>
              <a:gd name="connsiteX152" fmla="*/ 7897363 w 12192000"/>
              <a:gd name="connsiteY152" fmla="*/ 0 h 5538650"/>
              <a:gd name="connsiteX153" fmla="*/ 7912859 w 12192000"/>
              <a:gd name="connsiteY153" fmla="*/ 0 h 5538650"/>
              <a:gd name="connsiteX154" fmla="*/ 6232286 w 12192000"/>
              <a:gd name="connsiteY154" fmla="*/ 5538650 h 5538650"/>
              <a:gd name="connsiteX155" fmla="*/ 6216587 w 12192000"/>
              <a:gd name="connsiteY155" fmla="*/ 5538650 h 5538650"/>
              <a:gd name="connsiteX156" fmla="*/ 7581679 w 12192000"/>
              <a:gd name="connsiteY156" fmla="*/ 0 h 5538650"/>
              <a:gd name="connsiteX157" fmla="*/ 7597201 w 12192000"/>
              <a:gd name="connsiteY157" fmla="*/ 0 h 5538650"/>
              <a:gd name="connsiteX158" fmla="*/ 6209892 w 12192000"/>
              <a:gd name="connsiteY158" fmla="*/ 5538650 h 5538650"/>
              <a:gd name="connsiteX159" fmla="*/ 6194207 w 12192000"/>
              <a:gd name="connsiteY159" fmla="*/ 5538650 h 5538650"/>
              <a:gd name="connsiteX160" fmla="*/ 7274063 w 12192000"/>
              <a:gd name="connsiteY160" fmla="*/ 0 h 5538650"/>
              <a:gd name="connsiteX161" fmla="*/ 7290165 w 12192000"/>
              <a:gd name="connsiteY161" fmla="*/ 0 h 5538650"/>
              <a:gd name="connsiteX162" fmla="*/ 6187801 w 12192000"/>
              <a:gd name="connsiteY162" fmla="*/ 5538650 h 5538650"/>
              <a:gd name="connsiteX163" fmla="*/ 6171830 w 12192000"/>
              <a:gd name="connsiteY163" fmla="*/ 5538650 h 5538650"/>
              <a:gd name="connsiteX164" fmla="*/ 6973046 w 12192000"/>
              <a:gd name="connsiteY164" fmla="*/ 0 h 5538650"/>
              <a:gd name="connsiteX165" fmla="*/ 6988294 w 12192000"/>
              <a:gd name="connsiteY165" fmla="*/ 0 h 5538650"/>
              <a:gd name="connsiteX166" fmla="*/ 6165737 w 12192000"/>
              <a:gd name="connsiteY166" fmla="*/ 5538650 h 5538650"/>
              <a:gd name="connsiteX167" fmla="*/ 6151040 w 12192000"/>
              <a:gd name="connsiteY167" fmla="*/ 5538650 h 5538650"/>
              <a:gd name="connsiteX168" fmla="*/ 6675307 w 12192000"/>
              <a:gd name="connsiteY168" fmla="*/ 0 h 5538650"/>
              <a:gd name="connsiteX169" fmla="*/ 6690046 w 12192000"/>
              <a:gd name="connsiteY169" fmla="*/ 0 h 5538650"/>
              <a:gd name="connsiteX170" fmla="*/ 6145146 w 12192000"/>
              <a:gd name="connsiteY170" fmla="*/ 5538650 h 5538650"/>
              <a:gd name="connsiteX171" fmla="*/ 6129760 w 12192000"/>
              <a:gd name="connsiteY171" fmla="*/ 5538650 h 5538650"/>
              <a:gd name="connsiteX172" fmla="*/ 6379954 w 12192000"/>
              <a:gd name="connsiteY172" fmla="*/ 0 h 5538650"/>
              <a:gd name="connsiteX173" fmla="*/ 6396479 w 12192000"/>
              <a:gd name="connsiteY173" fmla="*/ 0 h 5538650"/>
              <a:gd name="connsiteX174" fmla="*/ 6124045 w 12192000"/>
              <a:gd name="connsiteY174" fmla="*/ 5538650 h 5538650"/>
              <a:gd name="connsiteX175" fmla="*/ 6108806 w 12192000"/>
              <a:gd name="connsiteY175" fmla="*/ 5538650 h 5538650"/>
              <a:gd name="connsiteX176" fmla="*/ 6087918 w 12192000"/>
              <a:gd name="connsiteY176" fmla="*/ 0 h 5538650"/>
              <a:gd name="connsiteX177" fmla="*/ 6103132 w 12192000"/>
              <a:gd name="connsiteY177" fmla="*/ 0 h 5538650"/>
              <a:gd name="connsiteX178" fmla="*/ 6103132 w 12192000"/>
              <a:gd name="connsiteY178" fmla="*/ 5538650 h 5538650"/>
              <a:gd name="connsiteX179" fmla="*/ 6087918 w 12192000"/>
              <a:gd name="connsiteY179" fmla="*/ 5538650 h 5538650"/>
              <a:gd name="connsiteX180" fmla="*/ 5794572 w 12192000"/>
              <a:gd name="connsiteY180" fmla="*/ 0 h 5538650"/>
              <a:gd name="connsiteX181" fmla="*/ 5811095 w 12192000"/>
              <a:gd name="connsiteY181" fmla="*/ 0 h 5538650"/>
              <a:gd name="connsiteX182" fmla="*/ 6082245 w 12192000"/>
              <a:gd name="connsiteY182" fmla="*/ 5538650 h 5538650"/>
              <a:gd name="connsiteX183" fmla="*/ 6067007 w 12192000"/>
              <a:gd name="connsiteY183" fmla="*/ 5538650 h 5538650"/>
              <a:gd name="connsiteX184" fmla="*/ 5501006 w 12192000"/>
              <a:gd name="connsiteY184" fmla="*/ 0 h 5538650"/>
              <a:gd name="connsiteX185" fmla="*/ 5515746 w 12192000"/>
              <a:gd name="connsiteY185" fmla="*/ 0 h 5538650"/>
              <a:gd name="connsiteX186" fmla="*/ 6061292 w 12192000"/>
              <a:gd name="connsiteY186" fmla="*/ 5538650 h 5538650"/>
              <a:gd name="connsiteX187" fmla="*/ 6045905 w 12192000"/>
              <a:gd name="connsiteY187" fmla="*/ 5538650 h 5538650"/>
              <a:gd name="connsiteX188" fmla="*/ 5202758 w 12192000"/>
              <a:gd name="connsiteY188" fmla="*/ 0 h 5538650"/>
              <a:gd name="connsiteX189" fmla="*/ 5218008 w 12192000"/>
              <a:gd name="connsiteY189" fmla="*/ 0 h 5538650"/>
              <a:gd name="connsiteX190" fmla="*/ 6040011 w 12192000"/>
              <a:gd name="connsiteY190" fmla="*/ 5538650 h 5538650"/>
              <a:gd name="connsiteX191" fmla="*/ 6025314 w 12192000"/>
              <a:gd name="connsiteY191" fmla="*/ 5538650 h 5538650"/>
              <a:gd name="connsiteX192" fmla="*/ 4900888 w 12192000"/>
              <a:gd name="connsiteY192" fmla="*/ 0 h 5538650"/>
              <a:gd name="connsiteX193" fmla="*/ 4916988 w 12192000"/>
              <a:gd name="connsiteY193" fmla="*/ 0 h 5538650"/>
              <a:gd name="connsiteX194" fmla="*/ 6019222 w 12192000"/>
              <a:gd name="connsiteY194" fmla="*/ 5538650 h 5538650"/>
              <a:gd name="connsiteX195" fmla="*/ 6003250 w 12192000"/>
              <a:gd name="connsiteY195" fmla="*/ 5538650 h 5538650"/>
              <a:gd name="connsiteX196" fmla="*/ 4593851 w 12192000"/>
              <a:gd name="connsiteY196" fmla="*/ 0 h 5538650"/>
              <a:gd name="connsiteX197" fmla="*/ 4609374 w 12192000"/>
              <a:gd name="connsiteY197" fmla="*/ 0 h 5538650"/>
              <a:gd name="connsiteX198" fmla="*/ 5996844 w 12192000"/>
              <a:gd name="connsiteY198" fmla="*/ 5538650 h 5538650"/>
              <a:gd name="connsiteX199" fmla="*/ 5981160 w 12192000"/>
              <a:gd name="connsiteY199" fmla="*/ 5538650 h 5538650"/>
              <a:gd name="connsiteX200" fmla="*/ 4278194 w 12192000"/>
              <a:gd name="connsiteY200" fmla="*/ 0 h 5538650"/>
              <a:gd name="connsiteX201" fmla="*/ 4293688 w 12192000"/>
              <a:gd name="connsiteY201" fmla="*/ 0 h 5538650"/>
              <a:gd name="connsiteX202" fmla="*/ 5974465 w 12192000"/>
              <a:gd name="connsiteY202" fmla="*/ 5538650 h 5538650"/>
              <a:gd name="connsiteX203" fmla="*/ 5958765 w 12192000"/>
              <a:gd name="connsiteY203" fmla="*/ 5538650 h 5538650"/>
              <a:gd name="connsiteX204" fmla="*/ 3953150 w 12192000"/>
              <a:gd name="connsiteY204" fmla="*/ 0 h 5538650"/>
              <a:gd name="connsiteX205" fmla="*/ 3968400 w 12192000"/>
              <a:gd name="connsiteY205" fmla="*/ 0 h 5538650"/>
              <a:gd name="connsiteX206" fmla="*/ 5951601 w 12192000"/>
              <a:gd name="connsiteY206" fmla="*/ 5538650 h 5538650"/>
              <a:gd name="connsiteX207" fmla="*/ 5934062 w 12192000"/>
              <a:gd name="connsiteY207" fmla="*/ 5538650 h 5538650"/>
              <a:gd name="connsiteX208" fmla="*/ 3615713 w 12192000"/>
              <a:gd name="connsiteY208" fmla="*/ 0 h 5538650"/>
              <a:gd name="connsiteX209" fmla="*/ 3631209 w 12192000"/>
              <a:gd name="connsiteY209" fmla="*/ 0 h 5538650"/>
              <a:gd name="connsiteX210" fmla="*/ 5926249 w 12192000"/>
              <a:gd name="connsiteY210" fmla="*/ 5538650 h 5538650"/>
              <a:gd name="connsiteX211" fmla="*/ 5909651 w 12192000"/>
              <a:gd name="connsiteY211" fmla="*/ 5538650 h 5538650"/>
              <a:gd name="connsiteX212" fmla="*/ 3264742 w 12192000"/>
              <a:gd name="connsiteY212" fmla="*/ 0 h 5538650"/>
              <a:gd name="connsiteX213" fmla="*/ 3281299 w 12192000"/>
              <a:gd name="connsiteY213" fmla="*/ 0 h 5538650"/>
              <a:gd name="connsiteX214" fmla="*/ 5901207 w 12192000"/>
              <a:gd name="connsiteY214" fmla="*/ 5538650 h 5538650"/>
              <a:gd name="connsiteX215" fmla="*/ 5882897 w 12192000"/>
              <a:gd name="connsiteY215" fmla="*/ 5538650 h 5538650"/>
              <a:gd name="connsiteX216" fmla="*/ 2897752 w 12192000"/>
              <a:gd name="connsiteY216" fmla="*/ 0 h 5538650"/>
              <a:gd name="connsiteX217" fmla="*/ 2914469 w 12192000"/>
              <a:gd name="connsiteY217" fmla="*/ 0 h 5538650"/>
              <a:gd name="connsiteX218" fmla="*/ 5873653 w 12192000"/>
              <a:gd name="connsiteY218" fmla="*/ 5538650 h 5538650"/>
              <a:gd name="connsiteX219" fmla="*/ 5857716 w 12192000"/>
              <a:gd name="connsiteY219" fmla="*/ 5538650 h 5538650"/>
              <a:gd name="connsiteX220" fmla="*/ 2509648 w 12192000"/>
              <a:gd name="connsiteY220" fmla="*/ 0 h 5538650"/>
              <a:gd name="connsiteX221" fmla="*/ 2526858 w 12192000"/>
              <a:gd name="connsiteY221" fmla="*/ 0 h 5538650"/>
              <a:gd name="connsiteX222" fmla="*/ 5847506 w 12192000"/>
              <a:gd name="connsiteY222" fmla="*/ 5538650 h 5538650"/>
              <a:gd name="connsiteX223" fmla="*/ 5829100 w 12192000"/>
              <a:gd name="connsiteY223" fmla="*/ 5538650 h 5538650"/>
              <a:gd name="connsiteX224" fmla="*/ 2098550 w 12192000"/>
              <a:gd name="connsiteY224" fmla="*/ 0 h 5538650"/>
              <a:gd name="connsiteX225" fmla="*/ 2117319 w 12192000"/>
              <a:gd name="connsiteY225" fmla="*/ 0 h 5538650"/>
              <a:gd name="connsiteX226" fmla="*/ 5817728 w 12192000"/>
              <a:gd name="connsiteY226" fmla="*/ 5538650 h 5538650"/>
              <a:gd name="connsiteX227" fmla="*/ 5800246 w 12192000"/>
              <a:gd name="connsiteY227" fmla="*/ 5538650 h 5538650"/>
              <a:gd name="connsiteX228" fmla="*/ 1660880 w 12192000"/>
              <a:gd name="connsiteY228" fmla="*/ 0 h 5538650"/>
              <a:gd name="connsiteX229" fmla="*/ 1679710 w 12192000"/>
              <a:gd name="connsiteY229" fmla="*/ 0 h 5538650"/>
              <a:gd name="connsiteX230" fmla="*/ 5787564 w 12192000"/>
              <a:gd name="connsiteY230" fmla="*/ 5538650 h 5538650"/>
              <a:gd name="connsiteX231" fmla="*/ 5767933 w 12192000"/>
              <a:gd name="connsiteY231" fmla="*/ 5538650 h 5538650"/>
              <a:gd name="connsiteX232" fmla="*/ 1186725 w 12192000"/>
              <a:gd name="connsiteY232" fmla="*/ 0 h 5538650"/>
              <a:gd name="connsiteX233" fmla="*/ 1207744 w 12192000"/>
              <a:gd name="connsiteY233" fmla="*/ 0 h 5538650"/>
              <a:gd name="connsiteX234" fmla="*/ 5753555 w 12192000"/>
              <a:gd name="connsiteY234" fmla="*/ 5538650 h 5538650"/>
              <a:gd name="connsiteX235" fmla="*/ 5731855 w 12192000"/>
              <a:gd name="connsiteY235" fmla="*/ 5538650 h 5538650"/>
              <a:gd name="connsiteX236" fmla="*/ 674537 w 12192000"/>
              <a:gd name="connsiteY236" fmla="*/ 0 h 5538650"/>
              <a:gd name="connsiteX237" fmla="*/ 697166 w 12192000"/>
              <a:gd name="connsiteY237" fmla="*/ 0 h 5538650"/>
              <a:gd name="connsiteX238" fmla="*/ 5715377 w 12192000"/>
              <a:gd name="connsiteY238" fmla="*/ 5538650 h 5538650"/>
              <a:gd name="connsiteX239" fmla="*/ 5695348 w 12192000"/>
              <a:gd name="connsiteY239" fmla="*/ 5538650 h 5538650"/>
              <a:gd name="connsiteX240" fmla="*/ 116766 w 12192000"/>
              <a:gd name="connsiteY240" fmla="*/ 0 h 5538650"/>
              <a:gd name="connsiteX241" fmla="*/ 137682 w 12192000"/>
              <a:gd name="connsiteY241" fmla="*/ 0 h 5538650"/>
              <a:gd name="connsiteX242" fmla="*/ 5676334 w 12192000"/>
              <a:gd name="connsiteY242" fmla="*/ 5538650 h 5538650"/>
              <a:gd name="connsiteX243" fmla="*/ 5655418 w 12192000"/>
              <a:gd name="connsiteY243" fmla="*/ 5538650 h 553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</a:cxnLst>
            <a:rect l="l" t="t" r="r" b="b"/>
            <a:pathLst>
              <a:path w="12192000" h="5538650">
                <a:moveTo>
                  <a:pt x="0" y="5361265"/>
                </a:moveTo>
                <a:lnTo>
                  <a:pt x="1803035" y="5538650"/>
                </a:lnTo>
                <a:lnTo>
                  <a:pt x="1651395" y="5538650"/>
                </a:lnTo>
                <a:lnTo>
                  <a:pt x="0" y="5375991"/>
                </a:lnTo>
                <a:close/>
                <a:moveTo>
                  <a:pt x="12192000" y="5361172"/>
                </a:moveTo>
                <a:lnTo>
                  <a:pt x="12192000" y="5375897"/>
                </a:lnTo>
                <a:lnTo>
                  <a:pt x="10539653" y="5538650"/>
                </a:lnTo>
                <a:lnTo>
                  <a:pt x="10388020" y="5538650"/>
                </a:lnTo>
                <a:close/>
                <a:moveTo>
                  <a:pt x="0" y="5056639"/>
                </a:moveTo>
                <a:lnTo>
                  <a:pt x="3245598" y="5538650"/>
                </a:lnTo>
                <a:lnTo>
                  <a:pt x="3144944" y="5538650"/>
                </a:lnTo>
                <a:lnTo>
                  <a:pt x="0" y="5071901"/>
                </a:lnTo>
                <a:close/>
                <a:moveTo>
                  <a:pt x="12192000" y="5056498"/>
                </a:moveTo>
                <a:lnTo>
                  <a:pt x="12192000" y="5071760"/>
                </a:lnTo>
                <a:lnTo>
                  <a:pt x="9046109" y="5538650"/>
                </a:lnTo>
                <a:lnTo>
                  <a:pt x="8945453" y="5538650"/>
                </a:lnTo>
                <a:close/>
                <a:moveTo>
                  <a:pt x="0" y="4748340"/>
                </a:moveTo>
                <a:lnTo>
                  <a:pt x="3970783" y="5538650"/>
                </a:lnTo>
                <a:lnTo>
                  <a:pt x="3890323" y="5538650"/>
                </a:lnTo>
                <a:lnTo>
                  <a:pt x="0" y="4764446"/>
                </a:lnTo>
                <a:close/>
                <a:moveTo>
                  <a:pt x="12192000" y="4748152"/>
                </a:moveTo>
                <a:lnTo>
                  <a:pt x="12192000" y="4764257"/>
                </a:lnTo>
                <a:lnTo>
                  <a:pt x="8300729" y="5538650"/>
                </a:lnTo>
                <a:lnTo>
                  <a:pt x="8220271" y="5538650"/>
                </a:lnTo>
                <a:close/>
                <a:moveTo>
                  <a:pt x="0" y="4434761"/>
                </a:moveTo>
                <a:lnTo>
                  <a:pt x="4407134" y="5538650"/>
                </a:lnTo>
                <a:lnTo>
                  <a:pt x="4344675" y="5538650"/>
                </a:lnTo>
                <a:lnTo>
                  <a:pt x="0" y="4450278"/>
                </a:lnTo>
                <a:close/>
                <a:moveTo>
                  <a:pt x="12192000" y="4434523"/>
                </a:moveTo>
                <a:lnTo>
                  <a:pt x="12192000" y="4450039"/>
                </a:lnTo>
                <a:lnTo>
                  <a:pt x="7846376" y="5538650"/>
                </a:lnTo>
                <a:lnTo>
                  <a:pt x="7783917" y="5538650"/>
                </a:lnTo>
                <a:close/>
                <a:moveTo>
                  <a:pt x="0" y="4112365"/>
                </a:moveTo>
                <a:lnTo>
                  <a:pt x="4700598" y="5538650"/>
                </a:lnTo>
                <a:lnTo>
                  <a:pt x="4648976" y="5538650"/>
                </a:lnTo>
                <a:lnTo>
                  <a:pt x="0" y="4127856"/>
                </a:lnTo>
                <a:close/>
                <a:moveTo>
                  <a:pt x="12192000" y="4111926"/>
                </a:moveTo>
                <a:lnTo>
                  <a:pt x="12192000" y="4127568"/>
                </a:lnTo>
                <a:lnTo>
                  <a:pt x="7542076" y="5538650"/>
                </a:lnTo>
                <a:lnTo>
                  <a:pt x="7488819" y="5538650"/>
                </a:lnTo>
                <a:close/>
                <a:moveTo>
                  <a:pt x="0" y="3780425"/>
                </a:moveTo>
                <a:lnTo>
                  <a:pt x="4916015" y="5538650"/>
                </a:lnTo>
                <a:lnTo>
                  <a:pt x="4867902" y="5538650"/>
                </a:lnTo>
                <a:lnTo>
                  <a:pt x="0" y="3795622"/>
                </a:lnTo>
                <a:close/>
                <a:moveTo>
                  <a:pt x="12192000" y="3780085"/>
                </a:moveTo>
                <a:lnTo>
                  <a:pt x="12192000" y="3794601"/>
                </a:lnTo>
                <a:lnTo>
                  <a:pt x="7321249" y="5538650"/>
                </a:lnTo>
                <a:lnTo>
                  <a:pt x="7275037" y="5538650"/>
                </a:lnTo>
                <a:close/>
                <a:moveTo>
                  <a:pt x="0" y="3435799"/>
                </a:moveTo>
                <a:lnTo>
                  <a:pt x="5077278" y="5538650"/>
                </a:lnTo>
                <a:lnTo>
                  <a:pt x="5037506" y="5538650"/>
                </a:lnTo>
                <a:lnTo>
                  <a:pt x="0" y="3451269"/>
                </a:lnTo>
                <a:close/>
                <a:moveTo>
                  <a:pt x="12192000" y="3435405"/>
                </a:moveTo>
                <a:lnTo>
                  <a:pt x="12192000" y="3450875"/>
                </a:lnTo>
                <a:lnTo>
                  <a:pt x="7153546" y="5538650"/>
                </a:lnTo>
                <a:lnTo>
                  <a:pt x="7113776" y="5538650"/>
                </a:lnTo>
                <a:close/>
                <a:moveTo>
                  <a:pt x="0" y="3077379"/>
                </a:moveTo>
                <a:lnTo>
                  <a:pt x="5206769" y="5538650"/>
                </a:lnTo>
                <a:lnTo>
                  <a:pt x="5168362" y="5538650"/>
                </a:lnTo>
                <a:lnTo>
                  <a:pt x="0" y="3093896"/>
                </a:lnTo>
                <a:close/>
                <a:moveTo>
                  <a:pt x="12192000" y="3076929"/>
                </a:moveTo>
                <a:lnTo>
                  <a:pt x="12192000" y="3093447"/>
                </a:lnTo>
                <a:lnTo>
                  <a:pt x="7022692" y="5538650"/>
                </a:lnTo>
                <a:lnTo>
                  <a:pt x="6984285" y="5538650"/>
                </a:lnTo>
                <a:close/>
                <a:moveTo>
                  <a:pt x="0" y="2702539"/>
                </a:moveTo>
                <a:lnTo>
                  <a:pt x="5306906" y="5538650"/>
                </a:lnTo>
                <a:lnTo>
                  <a:pt x="5276980" y="5538650"/>
                </a:lnTo>
                <a:lnTo>
                  <a:pt x="0" y="2719272"/>
                </a:lnTo>
                <a:close/>
                <a:moveTo>
                  <a:pt x="12192000" y="2702031"/>
                </a:moveTo>
                <a:lnTo>
                  <a:pt x="12192000" y="2718765"/>
                </a:lnTo>
                <a:lnTo>
                  <a:pt x="6914075" y="5538650"/>
                </a:lnTo>
                <a:lnTo>
                  <a:pt x="6884146" y="5538650"/>
                </a:lnTo>
                <a:close/>
                <a:moveTo>
                  <a:pt x="0" y="2306178"/>
                </a:moveTo>
                <a:lnTo>
                  <a:pt x="5393525" y="5538650"/>
                </a:lnTo>
                <a:lnTo>
                  <a:pt x="5362926" y="5538650"/>
                </a:lnTo>
                <a:lnTo>
                  <a:pt x="0" y="2323359"/>
                </a:lnTo>
                <a:close/>
                <a:moveTo>
                  <a:pt x="12192000" y="2305608"/>
                </a:moveTo>
                <a:lnTo>
                  <a:pt x="12192000" y="2322789"/>
                </a:lnTo>
                <a:lnTo>
                  <a:pt x="6828126" y="5538650"/>
                </a:lnTo>
                <a:lnTo>
                  <a:pt x="6797528" y="5538650"/>
                </a:lnTo>
                <a:close/>
                <a:moveTo>
                  <a:pt x="0" y="1886298"/>
                </a:moveTo>
                <a:lnTo>
                  <a:pt x="5464823" y="5538650"/>
                </a:lnTo>
                <a:lnTo>
                  <a:pt x="5438585" y="5538650"/>
                </a:lnTo>
                <a:lnTo>
                  <a:pt x="0" y="1905097"/>
                </a:lnTo>
                <a:close/>
                <a:moveTo>
                  <a:pt x="12192000" y="1885663"/>
                </a:moveTo>
                <a:lnTo>
                  <a:pt x="12192000" y="1904462"/>
                </a:lnTo>
                <a:lnTo>
                  <a:pt x="6752468" y="5538650"/>
                </a:lnTo>
                <a:lnTo>
                  <a:pt x="6726230" y="5538650"/>
                </a:lnTo>
                <a:close/>
                <a:moveTo>
                  <a:pt x="0" y="1439316"/>
                </a:moveTo>
                <a:lnTo>
                  <a:pt x="5528242" y="5538650"/>
                </a:lnTo>
                <a:lnTo>
                  <a:pt x="5501801" y="5538650"/>
                </a:lnTo>
                <a:lnTo>
                  <a:pt x="0" y="1458129"/>
                </a:lnTo>
                <a:close/>
                <a:moveTo>
                  <a:pt x="12192000" y="1438611"/>
                </a:moveTo>
                <a:lnTo>
                  <a:pt x="12192000" y="1457424"/>
                </a:lnTo>
                <a:lnTo>
                  <a:pt x="6689252" y="5538650"/>
                </a:lnTo>
                <a:lnTo>
                  <a:pt x="6662810" y="5538650"/>
                </a:lnTo>
                <a:close/>
                <a:moveTo>
                  <a:pt x="0" y="955098"/>
                </a:moveTo>
                <a:lnTo>
                  <a:pt x="5585473" y="5538650"/>
                </a:lnTo>
                <a:lnTo>
                  <a:pt x="5559044" y="5538650"/>
                </a:lnTo>
                <a:lnTo>
                  <a:pt x="0" y="976103"/>
                </a:lnTo>
                <a:close/>
                <a:moveTo>
                  <a:pt x="12192000" y="954319"/>
                </a:moveTo>
                <a:lnTo>
                  <a:pt x="12192000" y="975322"/>
                </a:lnTo>
                <a:lnTo>
                  <a:pt x="6632007" y="5538650"/>
                </a:lnTo>
                <a:lnTo>
                  <a:pt x="6605580" y="5538650"/>
                </a:lnTo>
                <a:close/>
                <a:moveTo>
                  <a:pt x="0" y="431985"/>
                </a:moveTo>
                <a:lnTo>
                  <a:pt x="5633364" y="5538650"/>
                </a:lnTo>
                <a:lnTo>
                  <a:pt x="5611239" y="5538650"/>
                </a:lnTo>
                <a:lnTo>
                  <a:pt x="0" y="454672"/>
                </a:lnTo>
                <a:close/>
                <a:moveTo>
                  <a:pt x="12192000" y="431124"/>
                </a:moveTo>
                <a:lnTo>
                  <a:pt x="12192000" y="453812"/>
                </a:lnTo>
                <a:lnTo>
                  <a:pt x="6579814" y="5538650"/>
                </a:lnTo>
                <a:lnTo>
                  <a:pt x="6557689" y="5538650"/>
                </a:lnTo>
                <a:close/>
                <a:moveTo>
                  <a:pt x="12053367" y="0"/>
                </a:moveTo>
                <a:lnTo>
                  <a:pt x="12074285" y="0"/>
                </a:lnTo>
                <a:lnTo>
                  <a:pt x="6535635" y="5538650"/>
                </a:lnTo>
                <a:lnTo>
                  <a:pt x="6514718" y="5538650"/>
                </a:lnTo>
                <a:close/>
                <a:moveTo>
                  <a:pt x="11493886" y="0"/>
                </a:moveTo>
                <a:lnTo>
                  <a:pt x="11516512" y="0"/>
                </a:lnTo>
                <a:lnTo>
                  <a:pt x="6495704" y="5538650"/>
                </a:lnTo>
                <a:lnTo>
                  <a:pt x="6475677" y="5538650"/>
                </a:lnTo>
                <a:close/>
                <a:moveTo>
                  <a:pt x="10983307" y="0"/>
                </a:moveTo>
                <a:lnTo>
                  <a:pt x="11004326" y="0"/>
                </a:lnTo>
                <a:lnTo>
                  <a:pt x="6459200" y="5538650"/>
                </a:lnTo>
                <a:lnTo>
                  <a:pt x="6437499" y="5538650"/>
                </a:lnTo>
                <a:close/>
                <a:moveTo>
                  <a:pt x="10511339" y="0"/>
                </a:moveTo>
                <a:lnTo>
                  <a:pt x="10530171" y="0"/>
                </a:lnTo>
                <a:lnTo>
                  <a:pt x="6423121" y="5538650"/>
                </a:lnTo>
                <a:lnTo>
                  <a:pt x="6403488" y="5538650"/>
                </a:lnTo>
                <a:close/>
                <a:moveTo>
                  <a:pt x="10073731" y="0"/>
                </a:moveTo>
                <a:lnTo>
                  <a:pt x="10092501" y="0"/>
                </a:lnTo>
                <a:lnTo>
                  <a:pt x="6390805" y="5538650"/>
                </a:lnTo>
                <a:lnTo>
                  <a:pt x="6373323" y="5538650"/>
                </a:lnTo>
                <a:close/>
                <a:moveTo>
                  <a:pt x="9664192" y="0"/>
                </a:moveTo>
                <a:lnTo>
                  <a:pt x="9681401" y="0"/>
                </a:lnTo>
                <a:lnTo>
                  <a:pt x="6361951" y="5538650"/>
                </a:lnTo>
                <a:lnTo>
                  <a:pt x="6343546" y="5538650"/>
                </a:lnTo>
                <a:close/>
                <a:moveTo>
                  <a:pt x="9276175" y="0"/>
                </a:moveTo>
                <a:lnTo>
                  <a:pt x="9293298" y="0"/>
                </a:lnTo>
                <a:lnTo>
                  <a:pt x="6333336" y="5538650"/>
                </a:lnTo>
                <a:lnTo>
                  <a:pt x="6315537" y="5538650"/>
                </a:lnTo>
                <a:close/>
                <a:moveTo>
                  <a:pt x="8909752" y="0"/>
                </a:moveTo>
                <a:lnTo>
                  <a:pt x="8925866" y="0"/>
                </a:lnTo>
                <a:lnTo>
                  <a:pt x="6306292" y="5538650"/>
                </a:lnTo>
                <a:lnTo>
                  <a:pt x="6289844" y="5538650"/>
                </a:lnTo>
                <a:close/>
                <a:moveTo>
                  <a:pt x="8559841" y="0"/>
                </a:moveTo>
                <a:lnTo>
                  <a:pt x="8575337" y="0"/>
                </a:lnTo>
                <a:lnTo>
                  <a:pt x="6281400" y="5538650"/>
                </a:lnTo>
                <a:lnTo>
                  <a:pt x="6264803" y="5538650"/>
                </a:lnTo>
                <a:close/>
                <a:moveTo>
                  <a:pt x="8222650" y="0"/>
                </a:moveTo>
                <a:lnTo>
                  <a:pt x="8237900" y="0"/>
                </a:lnTo>
                <a:lnTo>
                  <a:pt x="6256989" y="5538650"/>
                </a:lnTo>
                <a:lnTo>
                  <a:pt x="6239450" y="5538650"/>
                </a:lnTo>
                <a:close/>
                <a:moveTo>
                  <a:pt x="7897363" y="0"/>
                </a:moveTo>
                <a:lnTo>
                  <a:pt x="7912859" y="0"/>
                </a:lnTo>
                <a:lnTo>
                  <a:pt x="6232286" y="5538650"/>
                </a:lnTo>
                <a:lnTo>
                  <a:pt x="6216587" y="5538650"/>
                </a:lnTo>
                <a:close/>
                <a:moveTo>
                  <a:pt x="7581679" y="0"/>
                </a:moveTo>
                <a:lnTo>
                  <a:pt x="7597201" y="0"/>
                </a:lnTo>
                <a:lnTo>
                  <a:pt x="6209892" y="5538650"/>
                </a:lnTo>
                <a:lnTo>
                  <a:pt x="6194207" y="5538650"/>
                </a:lnTo>
                <a:close/>
                <a:moveTo>
                  <a:pt x="7274063" y="0"/>
                </a:moveTo>
                <a:lnTo>
                  <a:pt x="7290165" y="0"/>
                </a:lnTo>
                <a:lnTo>
                  <a:pt x="6187801" y="5538650"/>
                </a:lnTo>
                <a:lnTo>
                  <a:pt x="6171830" y="5538650"/>
                </a:lnTo>
                <a:close/>
                <a:moveTo>
                  <a:pt x="6973046" y="0"/>
                </a:moveTo>
                <a:lnTo>
                  <a:pt x="6988294" y="0"/>
                </a:lnTo>
                <a:lnTo>
                  <a:pt x="6165737" y="5538650"/>
                </a:lnTo>
                <a:lnTo>
                  <a:pt x="6151040" y="5538650"/>
                </a:lnTo>
                <a:close/>
                <a:moveTo>
                  <a:pt x="6675307" y="0"/>
                </a:moveTo>
                <a:lnTo>
                  <a:pt x="6690046" y="0"/>
                </a:lnTo>
                <a:lnTo>
                  <a:pt x="6145146" y="5538650"/>
                </a:lnTo>
                <a:lnTo>
                  <a:pt x="6129760" y="5538650"/>
                </a:lnTo>
                <a:close/>
                <a:moveTo>
                  <a:pt x="6379954" y="0"/>
                </a:moveTo>
                <a:lnTo>
                  <a:pt x="6396479" y="0"/>
                </a:lnTo>
                <a:lnTo>
                  <a:pt x="6124045" y="5538650"/>
                </a:lnTo>
                <a:lnTo>
                  <a:pt x="6108806" y="5538650"/>
                </a:lnTo>
                <a:close/>
                <a:moveTo>
                  <a:pt x="6087918" y="0"/>
                </a:moveTo>
                <a:lnTo>
                  <a:pt x="6103132" y="0"/>
                </a:lnTo>
                <a:lnTo>
                  <a:pt x="6103132" y="5538650"/>
                </a:lnTo>
                <a:lnTo>
                  <a:pt x="6087918" y="5538650"/>
                </a:lnTo>
                <a:close/>
                <a:moveTo>
                  <a:pt x="5794572" y="0"/>
                </a:moveTo>
                <a:lnTo>
                  <a:pt x="5811095" y="0"/>
                </a:lnTo>
                <a:lnTo>
                  <a:pt x="6082245" y="5538650"/>
                </a:lnTo>
                <a:lnTo>
                  <a:pt x="6067007" y="5538650"/>
                </a:lnTo>
                <a:close/>
                <a:moveTo>
                  <a:pt x="5501006" y="0"/>
                </a:moveTo>
                <a:lnTo>
                  <a:pt x="5515746" y="0"/>
                </a:lnTo>
                <a:lnTo>
                  <a:pt x="6061292" y="5538650"/>
                </a:lnTo>
                <a:lnTo>
                  <a:pt x="6045905" y="5538650"/>
                </a:lnTo>
                <a:close/>
                <a:moveTo>
                  <a:pt x="5202758" y="0"/>
                </a:moveTo>
                <a:lnTo>
                  <a:pt x="5218008" y="0"/>
                </a:lnTo>
                <a:lnTo>
                  <a:pt x="6040011" y="5538650"/>
                </a:lnTo>
                <a:lnTo>
                  <a:pt x="6025314" y="5538650"/>
                </a:lnTo>
                <a:close/>
                <a:moveTo>
                  <a:pt x="4900888" y="0"/>
                </a:moveTo>
                <a:lnTo>
                  <a:pt x="4916988" y="0"/>
                </a:lnTo>
                <a:lnTo>
                  <a:pt x="6019222" y="5538650"/>
                </a:lnTo>
                <a:lnTo>
                  <a:pt x="6003250" y="5538650"/>
                </a:lnTo>
                <a:close/>
                <a:moveTo>
                  <a:pt x="4593851" y="0"/>
                </a:moveTo>
                <a:lnTo>
                  <a:pt x="4609374" y="0"/>
                </a:lnTo>
                <a:lnTo>
                  <a:pt x="5996844" y="5538650"/>
                </a:lnTo>
                <a:lnTo>
                  <a:pt x="5981160" y="5538650"/>
                </a:lnTo>
                <a:close/>
                <a:moveTo>
                  <a:pt x="4278194" y="0"/>
                </a:moveTo>
                <a:lnTo>
                  <a:pt x="4293688" y="0"/>
                </a:lnTo>
                <a:lnTo>
                  <a:pt x="5974465" y="5538650"/>
                </a:lnTo>
                <a:lnTo>
                  <a:pt x="5958765" y="5538650"/>
                </a:lnTo>
                <a:close/>
                <a:moveTo>
                  <a:pt x="3953150" y="0"/>
                </a:moveTo>
                <a:lnTo>
                  <a:pt x="3968400" y="0"/>
                </a:lnTo>
                <a:lnTo>
                  <a:pt x="5951601" y="5538650"/>
                </a:lnTo>
                <a:lnTo>
                  <a:pt x="5934062" y="5538650"/>
                </a:lnTo>
                <a:close/>
                <a:moveTo>
                  <a:pt x="3615713" y="0"/>
                </a:moveTo>
                <a:lnTo>
                  <a:pt x="3631209" y="0"/>
                </a:lnTo>
                <a:lnTo>
                  <a:pt x="5926249" y="5538650"/>
                </a:lnTo>
                <a:lnTo>
                  <a:pt x="5909651" y="5538650"/>
                </a:lnTo>
                <a:close/>
                <a:moveTo>
                  <a:pt x="3264742" y="0"/>
                </a:moveTo>
                <a:lnTo>
                  <a:pt x="3281299" y="0"/>
                </a:lnTo>
                <a:lnTo>
                  <a:pt x="5901207" y="5538650"/>
                </a:lnTo>
                <a:lnTo>
                  <a:pt x="5882897" y="5538650"/>
                </a:lnTo>
                <a:close/>
                <a:moveTo>
                  <a:pt x="2897752" y="0"/>
                </a:moveTo>
                <a:lnTo>
                  <a:pt x="2914469" y="0"/>
                </a:lnTo>
                <a:lnTo>
                  <a:pt x="5873653" y="5538650"/>
                </a:lnTo>
                <a:lnTo>
                  <a:pt x="5857716" y="5538650"/>
                </a:lnTo>
                <a:close/>
                <a:moveTo>
                  <a:pt x="2509648" y="0"/>
                </a:moveTo>
                <a:lnTo>
                  <a:pt x="2526858" y="0"/>
                </a:lnTo>
                <a:lnTo>
                  <a:pt x="5847506" y="5538650"/>
                </a:lnTo>
                <a:lnTo>
                  <a:pt x="5829100" y="5538650"/>
                </a:lnTo>
                <a:close/>
                <a:moveTo>
                  <a:pt x="2098550" y="0"/>
                </a:moveTo>
                <a:lnTo>
                  <a:pt x="2117319" y="0"/>
                </a:lnTo>
                <a:lnTo>
                  <a:pt x="5817728" y="5538650"/>
                </a:lnTo>
                <a:lnTo>
                  <a:pt x="5800246" y="5538650"/>
                </a:lnTo>
                <a:close/>
                <a:moveTo>
                  <a:pt x="1660880" y="0"/>
                </a:moveTo>
                <a:lnTo>
                  <a:pt x="1679710" y="0"/>
                </a:lnTo>
                <a:lnTo>
                  <a:pt x="5787564" y="5538650"/>
                </a:lnTo>
                <a:lnTo>
                  <a:pt x="5767933" y="5538650"/>
                </a:lnTo>
                <a:close/>
                <a:moveTo>
                  <a:pt x="1186725" y="0"/>
                </a:moveTo>
                <a:lnTo>
                  <a:pt x="1207744" y="0"/>
                </a:lnTo>
                <a:lnTo>
                  <a:pt x="5753555" y="5538650"/>
                </a:lnTo>
                <a:lnTo>
                  <a:pt x="5731855" y="5538650"/>
                </a:lnTo>
                <a:close/>
                <a:moveTo>
                  <a:pt x="674537" y="0"/>
                </a:moveTo>
                <a:lnTo>
                  <a:pt x="697166" y="0"/>
                </a:lnTo>
                <a:lnTo>
                  <a:pt x="5715377" y="5538650"/>
                </a:lnTo>
                <a:lnTo>
                  <a:pt x="5695348" y="5538650"/>
                </a:lnTo>
                <a:close/>
                <a:moveTo>
                  <a:pt x="116766" y="0"/>
                </a:moveTo>
                <a:lnTo>
                  <a:pt x="137682" y="0"/>
                </a:lnTo>
                <a:lnTo>
                  <a:pt x="5676334" y="5538650"/>
                </a:lnTo>
                <a:lnTo>
                  <a:pt x="5655418" y="553865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2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/>
          </a:p>
        </p:txBody>
      </p:sp>
      <p:sp>
        <p:nvSpPr>
          <p:cNvPr id="37" name="Rectangle 36"/>
          <p:cNvSpPr/>
          <p:nvPr userDrawn="1"/>
        </p:nvSpPr>
        <p:spPr>
          <a:xfrm>
            <a:off x="841248" y="839023"/>
            <a:ext cx="10509506" cy="3849061"/>
          </a:xfrm>
          <a:prstGeom prst="rect">
            <a:avLst/>
          </a:prstGeom>
          <a:solidFill>
            <a:schemeClr val="bg2">
              <a:lumMod val="7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Title 136"/>
          <p:cNvSpPr>
            <a:spLocks noGrp="1"/>
          </p:cNvSpPr>
          <p:nvPr userDrawn="1">
            <p:ph type="title" hasCustomPrompt="1"/>
          </p:nvPr>
        </p:nvSpPr>
        <p:spPr>
          <a:xfrm>
            <a:off x="2814844" y="1285421"/>
            <a:ext cx="6562313" cy="126188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algn="ctr" defTabSz="914400" rtl="0" eaLnBrk="1" latinLnBrk="0" hangingPunct="1">
              <a:defRPr lang="en-US" sz="3800" b="1" kern="1200" baseline="0">
                <a:solidFill>
                  <a:schemeClr val="bg1"/>
                </a:solidFill>
                <a:latin typeface="+mn-lt"/>
                <a:ea typeface="Verdana" charset="0"/>
                <a:cs typeface="Verdana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76" name="Text Placeholder 14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812620" y="3529402"/>
            <a:ext cx="6566761" cy="3416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 defTabSz="914400" rtl="0" eaLnBrk="1" latinLnBrk="0" hangingPunct="1">
              <a:buFontTx/>
              <a:buNone/>
              <a:defRPr lang="en-US" sz="1800" b="1" kern="1200" dirty="0" smtClean="0">
                <a:solidFill>
                  <a:schemeClr val="accent2"/>
                </a:solidFill>
                <a:latin typeface="+mn-lt"/>
                <a:ea typeface="Verdana" charset="0"/>
                <a:cs typeface="Verdana" charset="0"/>
              </a:defRPr>
            </a:lvl1pPr>
            <a:lvl2pPr marL="0" indent="0" algn="l" defTabSz="914400" rtl="0" eaLnBrk="1" latinLnBrk="0" hangingPunct="1">
              <a:buFontTx/>
              <a:buNone/>
              <a:defRPr lang="en-US" sz="17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FontTx/>
              <a:buNone/>
              <a:defRPr lang="en-US" sz="17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FontTx/>
              <a:buNone/>
              <a:defRPr lang="en-US" sz="17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FontTx/>
              <a:buNone/>
              <a:defRPr lang="en-US" sz="17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NAME</a:t>
            </a:r>
          </a:p>
        </p:txBody>
      </p:sp>
      <p:sp>
        <p:nvSpPr>
          <p:cNvPr id="33" name="Date Placeholder 8"/>
          <p:cNvSpPr>
            <a:spLocks noGrp="1"/>
          </p:cNvSpPr>
          <p:nvPr>
            <p:ph type="dt" sz="half" idx="2"/>
          </p:nvPr>
        </p:nvSpPr>
        <p:spPr>
          <a:xfrm>
            <a:off x="5445822" y="4036478"/>
            <a:ext cx="1300357" cy="300082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marL="0" algn="ctr" defTabSz="914400" rtl="0" eaLnBrk="1" latinLnBrk="0" hangingPunct="1">
              <a:defRPr lang="tr-TR" sz="1500" kern="1200" smtClean="0">
                <a:solidFill>
                  <a:schemeClr val="accent2"/>
                </a:solidFill>
                <a:latin typeface="+mn-lt"/>
                <a:ea typeface="Verdana" charset="0"/>
                <a:cs typeface="Verdana" charset="0"/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fld id="{3CD3863B-EF86-5B47-9DE2-38B56FD663E1}" type="datetime1">
              <a:rPr lang="tr-TR" smtClean="0"/>
              <a:t>1.06.2023</a:t>
            </a:fld>
            <a:endParaRPr lang="hr-HR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5538651"/>
            <a:ext cx="12192000" cy="13193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" name="Group 35"/>
          <p:cNvGrpSpPr/>
          <p:nvPr userDrawn="1"/>
        </p:nvGrpSpPr>
        <p:grpSpPr>
          <a:xfrm>
            <a:off x="4550305" y="5835739"/>
            <a:ext cx="3091390" cy="846443"/>
            <a:chOff x="935039" y="3687590"/>
            <a:chExt cx="9088528" cy="2488499"/>
          </a:xfrm>
        </p:grpSpPr>
        <p:grpSp>
          <p:nvGrpSpPr>
            <p:cNvPr id="38" name="Group 37"/>
            <p:cNvGrpSpPr/>
            <p:nvPr userDrawn="1"/>
          </p:nvGrpSpPr>
          <p:grpSpPr>
            <a:xfrm>
              <a:off x="935039" y="3687590"/>
              <a:ext cx="9088528" cy="1085320"/>
              <a:chOff x="1236663" y="4017963"/>
              <a:chExt cx="4862512" cy="580665"/>
            </a:xfrm>
          </p:grpSpPr>
          <p:grpSp>
            <p:nvGrpSpPr>
              <p:cNvPr id="54" name="Group 53"/>
              <p:cNvGrpSpPr/>
              <p:nvPr userDrawn="1"/>
            </p:nvGrpSpPr>
            <p:grpSpPr>
              <a:xfrm>
                <a:off x="1236663" y="4017963"/>
                <a:ext cx="3342915" cy="580665"/>
                <a:chOff x="1236663" y="4017963"/>
                <a:chExt cx="3342915" cy="580665"/>
              </a:xfrm>
            </p:grpSpPr>
            <p:sp>
              <p:nvSpPr>
                <p:cNvPr id="56" name="Freeform 55"/>
                <p:cNvSpPr>
                  <a:spLocks noChangeArrowheads="1"/>
                </p:cNvSpPr>
                <p:nvPr/>
              </p:nvSpPr>
              <p:spPr bwMode="auto">
                <a:xfrm>
                  <a:off x="3448050" y="4017963"/>
                  <a:ext cx="1131528" cy="580665"/>
                </a:xfrm>
                <a:custGeom>
                  <a:avLst/>
                  <a:gdLst>
                    <a:gd name="connsiteX0" fmla="*/ 840120 w 1131528"/>
                    <a:gd name="connsiteY0" fmla="*/ 206375 h 580665"/>
                    <a:gd name="connsiteX1" fmla="*/ 902929 w 1131528"/>
                    <a:gd name="connsiteY1" fmla="*/ 321903 h 580665"/>
                    <a:gd name="connsiteX2" fmla="*/ 779463 w 1131528"/>
                    <a:gd name="connsiteY2" fmla="*/ 321903 h 580665"/>
                    <a:gd name="connsiteX3" fmla="*/ 784003 w 1131528"/>
                    <a:gd name="connsiteY3" fmla="*/ 145346 h 580665"/>
                    <a:gd name="connsiteX4" fmla="*/ 620504 w 1131528"/>
                    <a:gd name="connsiteY4" fmla="*/ 435679 h 580665"/>
                    <a:gd name="connsiteX5" fmla="*/ 720980 w 1131528"/>
                    <a:gd name="connsiteY5" fmla="*/ 435679 h 580665"/>
                    <a:gd name="connsiteX6" fmla="*/ 748350 w 1131528"/>
                    <a:gd name="connsiteY6" fmla="*/ 383872 h 580665"/>
                    <a:gd name="connsiteX7" fmla="*/ 935617 w 1131528"/>
                    <a:gd name="connsiteY7" fmla="*/ 383872 h 580665"/>
                    <a:gd name="connsiteX8" fmla="*/ 964068 w 1131528"/>
                    <a:gd name="connsiteY8" fmla="*/ 435679 h 580665"/>
                    <a:gd name="connsiteX9" fmla="*/ 1061663 w 1131528"/>
                    <a:gd name="connsiteY9" fmla="*/ 435679 h 580665"/>
                    <a:gd name="connsiteX10" fmla="*/ 902846 w 1131528"/>
                    <a:gd name="connsiteY10" fmla="*/ 145346 h 580665"/>
                    <a:gd name="connsiteX11" fmla="*/ 288464 w 1131528"/>
                    <a:gd name="connsiteY11" fmla="*/ 144267 h 580665"/>
                    <a:gd name="connsiteX12" fmla="*/ 179705 w 1131528"/>
                    <a:gd name="connsiteY12" fmla="*/ 149304 h 580665"/>
                    <a:gd name="connsiteX13" fmla="*/ 107679 w 1131528"/>
                    <a:gd name="connsiteY13" fmla="*/ 237807 h 580665"/>
                    <a:gd name="connsiteX14" fmla="*/ 150174 w 1131528"/>
                    <a:gd name="connsiteY14" fmla="*/ 315876 h 580665"/>
                    <a:gd name="connsiteX15" fmla="*/ 232644 w 1131528"/>
                    <a:gd name="connsiteY15" fmla="*/ 323072 h 580665"/>
                    <a:gd name="connsiteX16" fmla="*/ 312953 w 1131528"/>
                    <a:gd name="connsiteY16" fmla="*/ 323072 h 580665"/>
                    <a:gd name="connsiteX17" fmla="*/ 356169 w 1131528"/>
                    <a:gd name="connsiteY17" fmla="*/ 323791 h 580665"/>
                    <a:gd name="connsiteX18" fmla="*/ 382818 w 1131528"/>
                    <a:gd name="connsiteY18" fmla="*/ 348255 h 580665"/>
                    <a:gd name="connsiteX19" fmla="*/ 268297 w 1131528"/>
                    <a:gd name="connsiteY19" fmla="*/ 376677 h 580665"/>
                    <a:gd name="connsiteX20" fmla="*/ 213197 w 1131528"/>
                    <a:gd name="connsiteY20" fmla="*/ 373799 h 580665"/>
                    <a:gd name="connsiteX21" fmla="*/ 195911 w 1131528"/>
                    <a:gd name="connsiteY21" fmla="*/ 343219 h 580665"/>
                    <a:gd name="connsiteX22" fmla="*/ 109480 w 1131528"/>
                    <a:gd name="connsiteY22" fmla="*/ 343219 h 580665"/>
                    <a:gd name="connsiteX23" fmla="*/ 109480 w 1131528"/>
                    <a:gd name="connsiteY23" fmla="*/ 360488 h 580665"/>
                    <a:gd name="connsiteX24" fmla="*/ 156296 w 1131528"/>
                    <a:gd name="connsiteY24" fmla="*/ 430642 h 580665"/>
                    <a:gd name="connsiteX25" fmla="*/ 273339 w 1131528"/>
                    <a:gd name="connsiteY25" fmla="*/ 437838 h 580665"/>
                    <a:gd name="connsiteX26" fmla="*/ 394702 w 1131528"/>
                    <a:gd name="connsiteY26" fmla="*/ 433520 h 580665"/>
                    <a:gd name="connsiteX27" fmla="*/ 468889 w 1131528"/>
                    <a:gd name="connsiteY27" fmla="*/ 347176 h 580665"/>
                    <a:gd name="connsiteX28" fmla="*/ 450883 w 1131528"/>
                    <a:gd name="connsiteY28" fmla="*/ 282418 h 580665"/>
                    <a:gd name="connsiteX29" fmla="*/ 375616 w 1131528"/>
                    <a:gd name="connsiteY29" fmla="*/ 260112 h 580665"/>
                    <a:gd name="connsiteX30" fmla="*/ 330239 w 1131528"/>
                    <a:gd name="connsiteY30" fmla="*/ 259033 h 580665"/>
                    <a:gd name="connsiteX31" fmla="*/ 247769 w 1131528"/>
                    <a:gd name="connsiteY31" fmla="*/ 259033 h 580665"/>
                    <a:gd name="connsiteX32" fmla="*/ 213197 w 1131528"/>
                    <a:gd name="connsiteY32" fmla="*/ 256874 h 580665"/>
                    <a:gd name="connsiteX33" fmla="*/ 194110 w 1131528"/>
                    <a:gd name="connsiteY33" fmla="*/ 233490 h 580665"/>
                    <a:gd name="connsiteX34" fmla="*/ 223281 w 1131528"/>
                    <a:gd name="connsiteY34" fmla="*/ 209385 h 580665"/>
                    <a:gd name="connsiteX35" fmla="*/ 302869 w 1131528"/>
                    <a:gd name="connsiteY35" fmla="*/ 207226 h 580665"/>
                    <a:gd name="connsiteX36" fmla="*/ 370574 w 1131528"/>
                    <a:gd name="connsiteY36" fmla="*/ 235648 h 580665"/>
                    <a:gd name="connsiteX37" fmla="*/ 457005 w 1131528"/>
                    <a:gd name="connsiteY37" fmla="*/ 235648 h 580665"/>
                    <a:gd name="connsiteX38" fmla="*/ 418111 w 1131528"/>
                    <a:gd name="connsiteY38" fmla="*/ 154341 h 580665"/>
                    <a:gd name="connsiteX39" fmla="*/ 288464 w 1131528"/>
                    <a:gd name="connsiteY39" fmla="*/ 144267 h 580665"/>
                    <a:gd name="connsiteX40" fmla="*/ 290625 w 1131528"/>
                    <a:gd name="connsiteY40" fmla="*/ 0 h 580665"/>
                    <a:gd name="connsiteX41" fmla="*/ 565404 w 1131528"/>
                    <a:gd name="connsiteY41" fmla="*/ 198952 h 580665"/>
                    <a:gd name="connsiteX42" fmla="*/ 840903 w 1131528"/>
                    <a:gd name="connsiteY42" fmla="*/ 0 h 580665"/>
                    <a:gd name="connsiteX43" fmla="*/ 1131528 w 1131528"/>
                    <a:gd name="connsiteY43" fmla="*/ 290333 h 580665"/>
                    <a:gd name="connsiteX44" fmla="*/ 840903 w 1131528"/>
                    <a:gd name="connsiteY44" fmla="*/ 580665 h 580665"/>
                    <a:gd name="connsiteX45" fmla="*/ 565404 w 1131528"/>
                    <a:gd name="connsiteY45" fmla="*/ 381714 h 580665"/>
                    <a:gd name="connsiteX46" fmla="*/ 290625 w 1131528"/>
                    <a:gd name="connsiteY46" fmla="*/ 580665 h 580665"/>
                    <a:gd name="connsiteX47" fmla="*/ 0 w 1131528"/>
                    <a:gd name="connsiteY47" fmla="*/ 290333 h 580665"/>
                    <a:gd name="connsiteX48" fmla="*/ 290625 w 1131528"/>
                    <a:gd name="connsiteY48" fmla="*/ 0 h 5806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1131528" h="580665">
                      <a:moveTo>
                        <a:pt x="840120" y="206375"/>
                      </a:moveTo>
                      <a:lnTo>
                        <a:pt x="902929" y="321903"/>
                      </a:lnTo>
                      <a:lnTo>
                        <a:pt x="779463" y="321903"/>
                      </a:lnTo>
                      <a:close/>
                      <a:moveTo>
                        <a:pt x="784003" y="145346"/>
                      </a:moveTo>
                      <a:lnTo>
                        <a:pt x="620504" y="435679"/>
                      </a:lnTo>
                      <a:lnTo>
                        <a:pt x="720980" y="435679"/>
                      </a:lnTo>
                      <a:lnTo>
                        <a:pt x="748350" y="383872"/>
                      </a:lnTo>
                      <a:lnTo>
                        <a:pt x="935617" y="383872"/>
                      </a:lnTo>
                      <a:lnTo>
                        <a:pt x="964068" y="435679"/>
                      </a:lnTo>
                      <a:lnTo>
                        <a:pt x="1061663" y="435679"/>
                      </a:lnTo>
                      <a:lnTo>
                        <a:pt x="902846" y="145346"/>
                      </a:lnTo>
                      <a:close/>
                      <a:moveTo>
                        <a:pt x="288464" y="144267"/>
                      </a:moveTo>
                      <a:cubicBezTo>
                        <a:pt x="232644" y="144267"/>
                        <a:pt x="208155" y="145346"/>
                        <a:pt x="179705" y="149304"/>
                      </a:cubicBezTo>
                      <a:cubicBezTo>
                        <a:pt x="126046" y="156499"/>
                        <a:pt x="107679" y="179884"/>
                        <a:pt x="107679" y="237807"/>
                      </a:cubicBezTo>
                      <a:cubicBezTo>
                        <a:pt x="107679" y="283497"/>
                        <a:pt x="119563" y="305803"/>
                        <a:pt x="150174" y="315876"/>
                      </a:cubicBezTo>
                      <a:cubicBezTo>
                        <a:pt x="165300" y="320913"/>
                        <a:pt x="189789" y="323072"/>
                        <a:pt x="232644" y="323072"/>
                      </a:cubicBezTo>
                      <a:lnTo>
                        <a:pt x="312953" y="323072"/>
                      </a:lnTo>
                      <a:cubicBezTo>
                        <a:pt x="348966" y="323072"/>
                        <a:pt x="351127" y="323791"/>
                        <a:pt x="356169" y="323791"/>
                      </a:cubicBezTo>
                      <a:cubicBezTo>
                        <a:pt x="373455" y="324871"/>
                        <a:pt x="382818" y="333145"/>
                        <a:pt x="382818" y="348255"/>
                      </a:cubicBezTo>
                      <a:cubicBezTo>
                        <a:pt x="382818" y="373799"/>
                        <a:pt x="371294" y="376677"/>
                        <a:pt x="268297" y="376677"/>
                      </a:cubicBezTo>
                      <a:cubicBezTo>
                        <a:pt x="246689" y="376677"/>
                        <a:pt x="221480" y="375598"/>
                        <a:pt x="213197" y="373799"/>
                      </a:cubicBezTo>
                      <a:cubicBezTo>
                        <a:pt x="200232" y="370561"/>
                        <a:pt x="196991" y="364445"/>
                        <a:pt x="195911" y="343219"/>
                      </a:cubicBezTo>
                      <a:lnTo>
                        <a:pt x="109480" y="343219"/>
                      </a:lnTo>
                      <a:cubicBezTo>
                        <a:pt x="109480" y="350414"/>
                        <a:pt x="109480" y="357609"/>
                        <a:pt x="109480" y="360488"/>
                      </a:cubicBezTo>
                      <a:cubicBezTo>
                        <a:pt x="109480" y="401141"/>
                        <a:pt x="123885" y="422368"/>
                        <a:pt x="156296" y="430642"/>
                      </a:cubicBezTo>
                      <a:cubicBezTo>
                        <a:pt x="177544" y="435679"/>
                        <a:pt x="207075" y="437838"/>
                        <a:pt x="273339" y="437838"/>
                      </a:cubicBezTo>
                      <a:cubicBezTo>
                        <a:pt x="334921" y="437838"/>
                        <a:pt x="360130" y="436758"/>
                        <a:pt x="394702" y="433520"/>
                      </a:cubicBezTo>
                      <a:cubicBezTo>
                        <a:pt x="449802" y="427404"/>
                        <a:pt x="471050" y="404019"/>
                        <a:pt x="468889" y="347176"/>
                      </a:cubicBezTo>
                      <a:cubicBezTo>
                        <a:pt x="468889" y="316956"/>
                        <a:pt x="462767" y="295370"/>
                        <a:pt x="450883" y="282418"/>
                      </a:cubicBezTo>
                      <a:cubicBezTo>
                        <a:pt x="436477" y="266948"/>
                        <a:pt x="419191" y="261911"/>
                        <a:pt x="375616" y="260112"/>
                      </a:cubicBezTo>
                      <a:cubicBezTo>
                        <a:pt x="352207" y="259033"/>
                        <a:pt x="334921" y="259033"/>
                        <a:pt x="330239" y="259033"/>
                      </a:cubicBezTo>
                      <a:lnTo>
                        <a:pt x="247769" y="259033"/>
                      </a:lnTo>
                      <a:cubicBezTo>
                        <a:pt x="220400" y="259033"/>
                        <a:pt x="218239" y="257954"/>
                        <a:pt x="213197" y="256874"/>
                      </a:cubicBezTo>
                      <a:cubicBezTo>
                        <a:pt x="200232" y="253996"/>
                        <a:pt x="194110" y="245722"/>
                        <a:pt x="194110" y="233490"/>
                      </a:cubicBezTo>
                      <a:cubicBezTo>
                        <a:pt x="194110" y="217300"/>
                        <a:pt x="202033" y="211184"/>
                        <a:pt x="223281" y="209385"/>
                      </a:cubicBezTo>
                      <a:cubicBezTo>
                        <a:pt x="236605" y="208306"/>
                        <a:pt x="275139" y="207226"/>
                        <a:pt x="302869" y="207226"/>
                      </a:cubicBezTo>
                      <a:cubicBezTo>
                        <a:pt x="362291" y="207226"/>
                        <a:pt x="370574" y="210105"/>
                        <a:pt x="370574" y="235648"/>
                      </a:cubicBezTo>
                      <a:lnTo>
                        <a:pt x="457005" y="235648"/>
                      </a:lnTo>
                      <a:cubicBezTo>
                        <a:pt x="457005" y="184921"/>
                        <a:pt x="447641" y="165493"/>
                        <a:pt x="418111" y="154341"/>
                      </a:cubicBezTo>
                      <a:cubicBezTo>
                        <a:pt x="395783" y="146426"/>
                        <a:pt x="373455" y="144267"/>
                        <a:pt x="288464" y="144267"/>
                      </a:cubicBezTo>
                      <a:close/>
                      <a:moveTo>
                        <a:pt x="290625" y="0"/>
                      </a:moveTo>
                      <a:cubicBezTo>
                        <a:pt x="418111" y="0"/>
                        <a:pt x="526870" y="83466"/>
                        <a:pt x="565404" y="198952"/>
                      </a:cubicBezTo>
                      <a:cubicBezTo>
                        <a:pt x="603218" y="83466"/>
                        <a:pt x="711977" y="0"/>
                        <a:pt x="840903" y="0"/>
                      </a:cubicBezTo>
                      <a:cubicBezTo>
                        <a:pt x="1001521" y="0"/>
                        <a:pt x="1131528" y="129876"/>
                        <a:pt x="1131528" y="290333"/>
                      </a:cubicBezTo>
                      <a:cubicBezTo>
                        <a:pt x="1131528" y="450789"/>
                        <a:pt x="1001521" y="580665"/>
                        <a:pt x="840903" y="580665"/>
                      </a:cubicBezTo>
                      <a:cubicBezTo>
                        <a:pt x="713057" y="580665"/>
                        <a:pt x="604298" y="497559"/>
                        <a:pt x="565404" y="381714"/>
                      </a:cubicBezTo>
                      <a:cubicBezTo>
                        <a:pt x="527950" y="497559"/>
                        <a:pt x="419191" y="580665"/>
                        <a:pt x="290625" y="580665"/>
                      </a:cubicBezTo>
                      <a:cubicBezTo>
                        <a:pt x="130007" y="580665"/>
                        <a:pt x="0" y="450789"/>
                        <a:pt x="0" y="290333"/>
                      </a:cubicBezTo>
                      <a:cubicBezTo>
                        <a:pt x="0" y="129876"/>
                        <a:pt x="130007" y="0"/>
                        <a:pt x="290625" y="0"/>
                      </a:cubicBezTo>
                      <a:close/>
                    </a:path>
                  </a:pathLst>
                </a:custGeom>
                <a:solidFill>
                  <a:srgbClr val="004A9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square" anchor="ctr"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57" name="Freeform 56"/>
                <p:cNvSpPr>
                  <a:spLocks noChangeArrowheads="1"/>
                </p:cNvSpPr>
                <p:nvPr/>
              </p:nvSpPr>
              <p:spPr bwMode="auto">
                <a:xfrm>
                  <a:off x="1236663" y="4160838"/>
                  <a:ext cx="323850" cy="290512"/>
                </a:xfrm>
                <a:custGeom>
                  <a:avLst/>
                  <a:gdLst>
                    <a:gd name="T0" fmla="*/ 0 w 901"/>
                    <a:gd name="T1" fmla="*/ 807 h 808"/>
                    <a:gd name="T2" fmla="*/ 0 w 901"/>
                    <a:gd name="T3" fmla="*/ 0 h 808"/>
                    <a:gd name="T4" fmla="*/ 892 w 901"/>
                    <a:gd name="T5" fmla="*/ 0 h 808"/>
                    <a:gd name="T6" fmla="*/ 892 w 901"/>
                    <a:gd name="T7" fmla="*/ 183 h 808"/>
                    <a:gd name="T8" fmla="*/ 240 w 901"/>
                    <a:gd name="T9" fmla="*/ 183 h 808"/>
                    <a:gd name="T10" fmla="*/ 240 w 901"/>
                    <a:gd name="T11" fmla="*/ 322 h 808"/>
                    <a:gd name="T12" fmla="*/ 855 w 901"/>
                    <a:gd name="T13" fmla="*/ 322 h 808"/>
                    <a:gd name="T14" fmla="*/ 855 w 901"/>
                    <a:gd name="T15" fmla="*/ 483 h 808"/>
                    <a:gd name="T16" fmla="*/ 240 w 901"/>
                    <a:gd name="T17" fmla="*/ 483 h 808"/>
                    <a:gd name="T18" fmla="*/ 240 w 901"/>
                    <a:gd name="T19" fmla="*/ 624 h 808"/>
                    <a:gd name="T20" fmla="*/ 900 w 901"/>
                    <a:gd name="T21" fmla="*/ 624 h 808"/>
                    <a:gd name="T22" fmla="*/ 900 w 901"/>
                    <a:gd name="T23" fmla="*/ 807 h 808"/>
                    <a:gd name="T24" fmla="*/ 0 w 901"/>
                    <a:gd name="T25" fmla="*/ 807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01" h="808">
                      <a:moveTo>
                        <a:pt x="0" y="807"/>
                      </a:moveTo>
                      <a:lnTo>
                        <a:pt x="0" y="0"/>
                      </a:lnTo>
                      <a:lnTo>
                        <a:pt x="892" y="0"/>
                      </a:lnTo>
                      <a:lnTo>
                        <a:pt x="892" y="183"/>
                      </a:lnTo>
                      <a:lnTo>
                        <a:pt x="240" y="183"/>
                      </a:lnTo>
                      <a:lnTo>
                        <a:pt x="240" y="322"/>
                      </a:lnTo>
                      <a:lnTo>
                        <a:pt x="855" y="322"/>
                      </a:lnTo>
                      <a:lnTo>
                        <a:pt x="855" y="483"/>
                      </a:lnTo>
                      <a:lnTo>
                        <a:pt x="240" y="483"/>
                      </a:lnTo>
                      <a:lnTo>
                        <a:pt x="240" y="624"/>
                      </a:lnTo>
                      <a:lnTo>
                        <a:pt x="900" y="624"/>
                      </a:lnTo>
                      <a:lnTo>
                        <a:pt x="900" y="807"/>
                      </a:lnTo>
                      <a:lnTo>
                        <a:pt x="0" y="807"/>
                      </a:lnTo>
                    </a:path>
                  </a:pathLst>
                </a:custGeom>
                <a:solidFill>
                  <a:srgbClr val="231E1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8" name="Freeform 57"/>
                <p:cNvSpPr>
                  <a:spLocks noChangeArrowheads="1"/>
                </p:cNvSpPr>
                <p:nvPr/>
              </p:nvSpPr>
              <p:spPr bwMode="auto">
                <a:xfrm>
                  <a:off x="1628775" y="4160838"/>
                  <a:ext cx="398463" cy="290512"/>
                </a:xfrm>
                <a:custGeom>
                  <a:avLst/>
                  <a:gdLst>
                    <a:gd name="T0" fmla="*/ 712 w 1108"/>
                    <a:gd name="T1" fmla="*/ 807 h 808"/>
                    <a:gd name="T2" fmla="*/ 232 w 1108"/>
                    <a:gd name="T3" fmla="*/ 200 h 808"/>
                    <a:gd name="T4" fmla="*/ 238 w 1108"/>
                    <a:gd name="T5" fmla="*/ 807 h 808"/>
                    <a:gd name="T6" fmla="*/ 0 w 1108"/>
                    <a:gd name="T7" fmla="*/ 807 h 808"/>
                    <a:gd name="T8" fmla="*/ 0 w 1108"/>
                    <a:gd name="T9" fmla="*/ 0 h 808"/>
                    <a:gd name="T10" fmla="*/ 393 w 1108"/>
                    <a:gd name="T11" fmla="*/ 0 h 808"/>
                    <a:gd name="T12" fmla="*/ 881 w 1108"/>
                    <a:gd name="T13" fmla="*/ 615 h 808"/>
                    <a:gd name="T14" fmla="*/ 875 w 1108"/>
                    <a:gd name="T15" fmla="*/ 0 h 808"/>
                    <a:gd name="T16" fmla="*/ 1107 w 1108"/>
                    <a:gd name="T17" fmla="*/ 0 h 808"/>
                    <a:gd name="T18" fmla="*/ 1107 w 1108"/>
                    <a:gd name="T19" fmla="*/ 807 h 808"/>
                    <a:gd name="T20" fmla="*/ 712 w 1108"/>
                    <a:gd name="T21" fmla="*/ 807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08" h="808">
                      <a:moveTo>
                        <a:pt x="712" y="807"/>
                      </a:moveTo>
                      <a:lnTo>
                        <a:pt x="232" y="200"/>
                      </a:lnTo>
                      <a:lnTo>
                        <a:pt x="238" y="807"/>
                      </a:lnTo>
                      <a:lnTo>
                        <a:pt x="0" y="807"/>
                      </a:lnTo>
                      <a:lnTo>
                        <a:pt x="0" y="0"/>
                      </a:lnTo>
                      <a:lnTo>
                        <a:pt x="393" y="0"/>
                      </a:lnTo>
                      <a:lnTo>
                        <a:pt x="881" y="615"/>
                      </a:lnTo>
                      <a:lnTo>
                        <a:pt x="875" y="0"/>
                      </a:lnTo>
                      <a:lnTo>
                        <a:pt x="1107" y="0"/>
                      </a:lnTo>
                      <a:lnTo>
                        <a:pt x="1107" y="807"/>
                      </a:lnTo>
                      <a:lnTo>
                        <a:pt x="712" y="807"/>
                      </a:lnTo>
                    </a:path>
                  </a:pathLst>
                </a:custGeom>
                <a:solidFill>
                  <a:srgbClr val="231E1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9" name="Freeform 58"/>
                <p:cNvSpPr>
                  <a:spLocks noChangeArrowheads="1"/>
                </p:cNvSpPr>
                <p:nvPr/>
              </p:nvSpPr>
              <p:spPr bwMode="auto">
                <a:xfrm>
                  <a:off x="2103438" y="4160838"/>
                  <a:ext cx="323850" cy="290512"/>
                </a:xfrm>
                <a:custGeom>
                  <a:avLst/>
                  <a:gdLst>
                    <a:gd name="T0" fmla="*/ 0 w 901"/>
                    <a:gd name="T1" fmla="*/ 807 h 808"/>
                    <a:gd name="T2" fmla="*/ 0 w 901"/>
                    <a:gd name="T3" fmla="*/ 0 h 808"/>
                    <a:gd name="T4" fmla="*/ 892 w 901"/>
                    <a:gd name="T5" fmla="*/ 0 h 808"/>
                    <a:gd name="T6" fmla="*/ 892 w 901"/>
                    <a:gd name="T7" fmla="*/ 183 h 808"/>
                    <a:gd name="T8" fmla="*/ 240 w 901"/>
                    <a:gd name="T9" fmla="*/ 183 h 808"/>
                    <a:gd name="T10" fmla="*/ 240 w 901"/>
                    <a:gd name="T11" fmla="*/ 322 h 808"/>
                    <a:gd name="T12" fmla="*/ 855 w 901"/>
                    <a:gd name="T13" fmla="*/ 322 h 808"/>
                    <a:gd name="T14" fmla="*/ 855 w 901"/>
                    <a:gd name="T15" fmla="*/ 483 h 808"/>
                    <a:gd name="T16" fmla="*/ 240 w 901"/>
                    <a:gd name="T17" fmla="*/ 483 h 808"/>
                    <a:gd name="T18" fmla="*/ 240 w 901"/>
                    <a:gd name="T19" fmla="*/ 624 h 808"/>
                    <a:gd name="T20" fmla="*/ 900 w 901"/>
                    <a:gd name="T21" fmla="*/ 624 h 808"/>
                    <a:gd name="T22" fmla="*/ 900 w 901"/>
                    <a:gd name="T23" fmla="*/ 807 h 808"/>
                    <a:gd name="T24" fmla="*/ 0 w 901"/>
                    <a:gd name="T25" fmla="*/ 807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01" h="808">
                      <a:moveTo>
                        <a:pt x="0" y="807"/>
                      </a:moveTo>
                      <a:lnTo>
                        <a:pt x="0" y="0"/>
                      </a:lnTo>
                      <a:lnTo>
                        <a:pt x="892" y="0"/>
                      </a:lnTo>
                      <a:lnTo>
                        <a:pt x="892" y="183"/>
                      </a:lnTo>
                      <a:lnTo>
                        <a:pt x="240" y="183"/>
                      </a:lnTo>
                      <a:lnTo>
                        <a:pt x="240" y="322"/>
                      </a:lnTo>
                      <a:lnTo>
                        <a:pt x="855" y="322"/>
                      </a:lnTo>
                      <a:lnTo>
                        <a:pt x="855" y="483"/>
                      </a:lnTo>
                      <a:lnTo>
                        <a:pt x="240" y="483"/>
                      </a:lnTo>
                      <a:lnTo>
                        <a:pt x="240" y="624"/>
                      </a:lnTo>
                      <a:lnTo>
                        <a:pt x="900" y="624"/>
                      </a:lnTo>
                      <a:lnTo>
                        <a:pt x="900" y="807"/>
                      </a:lnTo>
                      <a:lnTo>
                        <a:pt x="0" y="807"/>
                      </a:lnTo>
                    </a:path>
                  </a:pathLst>
                </a:custGeom>
                <a:solidFill>
                  <a:srgbClr val="231E1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60" name="Freeform 59"/>
                <p:cNvSpPr>
                  <a:spLocks noChangeArrowheads="1"/>
                </p:cNvSpPr>
                <p:nvPr/>
              </p:nvSpPr>
              <p:spPr bwMode="auto">
                <a:xfrm>
                  <a:off x="2495550" y="4162425"/>
                  <a:ext cx="366713" cy="290513"/>
                </a:xfrm>
                <a:custGeom>
                  <a:avLst/>
                  <a:gdLst>
                    <a:gd name="T0" fmla="*/ 764 w 1017"/>
                    <a:gd name="T1" fmla="*/ 254 h 808"/>
                    <a:gd name="T2" fmla="*/ 747 w 1017"/>
                    <a:gd name="T3" fmla="*/ 220 h 808"/>
                    <a:gd name="T4" fmla="*/ 731 w 1017"/>
                    <a:gd name="T5" fmla="*/ 209 h 808"/>
                    <a:gd name="T6" fmla="*/ 711 w 1017"/>
                    <a:gd name="T7" fmla="*/ 200 h 808"/>
                    <a:gd name="T8" fmla="*/ 680 w 1017"/>
                    <a:gd name="T9" fmla="*/ 197 h 808"/>
                    <a:gd name="T10" fmla="*/ 635 w 1017"/>
                    <a:gd name="T11" fmla="*/ 197 h 808"/>
                    <a:gd name="T12" fmla="*/ 242 w 1017"/>
                    <a:gd name="T13" fmla="*/ 197 h 808"/>
                    <a:gd name="T14" fmla="*/ 242 w 1017"/>
                    <a:gd name="T15" fmla="*/ 406 h 808"/>
                    <a:gd name="T16" fmla="*/ 626 w 1017"/>
                    <a:gd name="T17" fmla="*/ 406 h 808"/>
                    <a:gd name="T18" fmla="*/ 697 w 1017"/>
                    <a:gd name="T19" fmla="*/ 403 h 808"/>
                    <a:gd name="T20" fmla="*/ 739 w 1017"/>
                    <a:gd name="T21" fmla="*/ 389 h 808"/>
                    <a:gd name="T22" fmla="*/ 759 w 1017"/>
                    <a:gd name="T23" fmla="*/ 364 h 808"/>
                    <a:gd name="T24" fmla="*/ 770 w 1017"/>
                    <a:gd name="T25" fmla="*/ 316 h 808"/>
                    <a:gd name="T26" fmla="*/ 764 w 1017"/>
                    <a:gd name="T27" fmla="*/ 254 h 808"/>
                    <a:gd name="T28" fmla="*/ 948 w 1017"/>
                    <a:gd name="T29" fmla="*/ 457 h 808"/>
                    <a:gd name="T30" fmla="*/ 925 w 1017"/>
                    <a:gd name="T31" fmla="*/ 471 h 808"/>
                    <a:gd name="T32" fmla="*/ 894 w 1017"/>
                    <a:gd name="T33" fmla="*/ 480 h 808"/>
                    <a:gd name="T34" fmla="*/ 852 w 1017"/>
                    <a:gd name="T35" fmla="*/ 488 h 808"/>
                    <a:gd name="T36" fmla="*/ 793 w 1017"/>
                    <a:gd name="T37" fmla="*/ 496 h 808"/>
                    <a:gd name="T38" fmla="*/ 832 w 1017"/>
                    <a:gd name="T39" fmla="*/ 499 h 808"/>
                    <a:gd name="T40" fmla="*/ 891 w 1017"/>
                    <a:gd name="T41" fmla="*/ 505 h 808"/>
                    <a:gd name="T42" fmla="*/ 934 w 1017"/>
                    <a:gd name="T43" fmla="*/ 513 h 808"/>
                    <a:gd name="T44" fmla="*/ 962 w 1017"/>
                    <a:gd name="T45" fmla="*/ 530 h 808"/>
                    <a:gd name="T46" fmla="*/ 982 w 1017"/>
                    <a:gd name="T47" fmla="*/ 556 h 808"/>
                    <a:gd name="T48" fmla="*/ 999 w 1017"/>
                    <a:gd name="T49" fmla="*/ 604 h 808"/>
                    <a:gd name="T50" fmla="*/ 1004 w 1017"/>
                    <a:gd name="T51" fmla="*/ 674 h 808"/>
                    <a:gd name="T52" fmla="*/ 1004 w 1017"/>
                    <a:gd name="T53" fmla="*/ 801 h 808"/>
                    <a:gd name="T54" fmla="*/ 756 w 1017"/>
                    <a:gd name="T55" fmla="*/ 801 h 808"/>
                    <a:gd name="T56" fmla="*/ 756 w 1017"/>
                    <a:gd name="T57" fmla="*/ 705 h 808"/>
                    <a:gd name="T58" fmla="*/ 747 w 1017"/>
                    <a:gd name="T59" fmla="*/ 652 h 808"/>
                    <a:gd name="T60" fmla="*/ 725 w 1017"/>
                    <a:gd name="T61" fmla="*/ 618 h 808"/>
                    <a:gd name="T62" fmla="*/ 691 w 1017"/>
                    <a:gd name="T63" fmla="*/ 607 h 808"/>
                    <a:gd name="T64" fmla="*/ 620 w 1017"/>
                    <a:gd name="T65" fmla="*/ 604 h 808"/>
                    <a:gd name="T66" fmla="*/ 245 w 1017"/>
                    <a:gd name="T67" fmla="*/ 604 h 808"/>
                    <a:gd name="T68" fmla="*/ 245 w 1017"/>
                    <a:gd name="T69" fmla="*/ 807 h 808"/>
                    <a:gd name="T70" fmla="*/ 0 w 1017"/>
                    <a:gd name="T71" fmla="*/ 807 h 808"/>
                    <a:gd name="T72" fmla="*/ 0 w 1017"/>
                    <a:gd name="T73" fmla="*/ 0 h 808"/>
                    <a:gd name="T74" fmla="*/ 694 w 1017"/>
                    <a:gd name="T75" fmla="*/ 0 h 808"/>
                    <a:gd name="T76" fmla="*/ 832 w 1017"/>
                    <a:gd name="T77" fmla="*/ 8 h 808"/>
                    <a:gd name="T78" fmla="*/ 917 w 1017"/>
                    <a:gd name="T79" fmla="*/ 34 h 808"/>
                    <a:gd name="T80" fmla="*/ 990 w 1017"/>
                    <a:gd name="T81" fmla="*/ 118 h 808"/>
                    <a:gd name="T82" fmla="*/ 1016 w 1017"/>
                    <a:gd name="T83" fmla="*/ 265 h 808"/>
                    <a:gd name="T84" fmla="*/ 948 w 1017"/>
                    <a:gd name="T85" fmla="*/ 457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017" h="808">
                      <a:moveTo>
                        <a:pt x="764" y="254"/>
                      </a:moveTo>
                      <a:cubicBezTo>
                        <a:pt x="761" y="240"/>
                        <a:pt x="755" y="228"/>
                        <a:pt x="747" y="220"/>
                      </a:cubicBezTo>
                      <a:cubicBezTo>
                        <a:pt x="741" y="214"/>
                        <a:pt x="736" y="211"/>
                        <a:pt x="731" y="209"/>
                      </a:cubicBezTo>
                      <a:cubicBezTo>
                        <a:pt x="725" y="206"/>
                        <a:pt x="719" y="203"/>
                        <a:pt x="711" y="200"/>
                      </a:cubicBezTo>
                      <a:cubicBezTo>
                        <a:pt x="702" y="197"/>
                        <a:pt x="694" y="197"/>
                        <a:pt x="680" y="197"/>
                      </a:cubicBezTo>
                      <a:lnTo>
                        <a:pt x="635" y="197"/>
                      </a:lnTo>
                      <a:lnTo>
                        <a:pt x="242" y="197"/>
                      </a:lnTo>
                      <a:lnTo>
                        <a:pt x="242" y="406"/>
                      </a:lnTo>
                      <a:lnTo>
                        <a:pt x="626" y="406"/>
                      </a:lnTo>
                      <a:cubicBezTo>
                        <a:pt x="654" y="406"/>
                        <a:pt x="680" y="406"/>
                        <a:pt x="697" y="403"/>
                      </a:cubicBezTo>
                      <a:cubicBezTo>
                        <a:pt x="716" y="401"/>
                        <a:pt x="731" y="398"/>
                        <a:pt x="739" y="389"/>
                      </a:cubicBezTo>
                      <a:cubicBezTo>
                        <a:pt x="750" y="384"/>
                        <a:pt x="756" y="375"/>
                        <a:pt x="759" y="364"/>
                      </a:cubicBezTo>
                      <a:cubicBezTo>
                        <a:pt x="767" y="350"/>
                        <a:pt x="770" y="333"/>
                        <a:pt x="770" y="316"/>
                      </a:cubicBezTo>
                      <a:cubicBezTo>
                        <a:pt x="770" y="288"/>
                        <a:pt x="766" y="268"/>
                        <a:pt x="764" y="254"/>
                      </a:cubicBezTo>
                      <a:close/>
                      <a:moveTo>
                        <a:pt x="948" y="457"/>
                      </a:moveTo>
                      <a:cubicBezTo>
                        <a:pt x="939" y="463"/>
                        <a:pt x="933" y="468"/>
                        <a:pt x="925" y="471"/>
                      </a:cubicBezTo>
                      <a:cubicBezTo>
                        <a:pt x="916" y="474"/>
                        <a:pt x="908" y="477"/>
                        <a:pt x="894" y="480"/>
                      </a:cubicBezTo>
                      <a:cubicBezTo>
                        <a:pt x="883" y="482"/>
                        <a:pt x="869" y="485"/>
                        <a:pt x="852" y="488"/>
                      </a:cubicBezTo>
                      <a:cubicBezTo>
                        <a:pt x="835" y="491"/>
                        <a:pt x="815" y="494"/>
                        <a:pt x="793" y="496"/>
                      </a:cubicBezTo>
                      <a:lnTo>
                        <a:pt x="832" y="499"/>
                      </a:lnTo>
                      <a:cubicBezTo>
                        <a:pt x="855" y="502"/>
                        <a:pt x="874" y="502"/>
                        <a:pt x="891" y="505"/>
                      </a:cubicBezTo>
                      <a:cubicBezTo>
                        <a:pt x="908" y="508"/>
                        <a:pt x="922" y="511"/>
                        <a:pt x="934" y="513"/>
                      </a:cubicBezTo>
                      <a:cubicBezTo>
                        <a:pt x="945" y="516"/>
                        <a:pt x="953" y="522"/>
                        <a:pt x="962" y="530"/>
                      </a:cubicBezTo>
                      <a:cubicBezTo>
                        <a:pt x="970" y="536"/>
                        <a:pt x="976" y="544"/>
                        <a:pt x="982" y="556"/>
                      </a:cubicBezTo>
                      <a:cubicBezTo>
                        <a:pt x="990" y="570"/>
                        <a:pt x="996" y="587"/>
                        <a:pt x="999" y="604"/>
                      </a:cubicBezTo>
                      <a:cubicBezTo>
                        <a:pt x="1001" y="621"/>
                        <a:pt x="1004" y="643"/>
                        <a:pt x="1004" y="674"/>
                      </a:cubicBezTo>
                      <a:lnTo>
                        <a:pt x="1004" y="801"/>
                      </a:lnTo>
                      <a:lnTo>
                        <a:pt x="756" y="801"/>
                      </a:lnTo>
                      <a:lnTo>
                        <a:pt x="756" y="705"/>
                      </a:lnTo>
                      <a:cubicBezTo>
                        <a:pt x="756" y="683"/>
                        <a:pt x="753" y="663"/>
                        <a:pt x="747" y="652"/>
                      </a:cubicBezTo>
                      <a:cubicBezTo>
                        <a:pt x="745" y="638"/>
                        <a:pt x="736" y="626"/>
                        <a:pt x="725" y="618"/>
                      </a:cubicBezTo>
                      <a:cubicBezTo>
                        <a:pt x="716" y="612"/>
                        <a:pt x="702" y="607"/>
                        <a:pt x="691" y="607"/>
                      </a:cubicBezTo>
                      <a:cubicBezTo>
                        <a:pt x="677" y="604"/>
                        <a:pt x="654" y="604"/>
                        <a:pt x="620" y="604"/>
                      </a:cubicBezTo>
                      <a:lnTo>
                        <a:pt x="245" y="604"/>
                      </a:lnTo>
                      <a:lnTo>
                        <a:pt x="245" y="807"/>
                      </a:lnTo>
                      <a:lnTo>
                        <a:pt x="0" y="807"/>
                      </a:lnTo>
                      <a:lnTo>
                        <a:pt x="0" y="0"/>
                      </a:lnTo>
                      <a:lnTo>
                        <a:pt x="694" y="0"/>
                      </a:lnTo>
                      <a:cubicBezTo>
                        <a:pt x="753" y="0"/>
                        <a:pt x="801" y="3"/>
                        <a:pt x="832" y="8"/>
                      </a:cubicBezTo>
                      <a:cubicBezTo>
                        <a:pt x="866" y="14"/>
                        <a:pt x="894" y="22"/>
                        <a:pt x="917" y="34"/>
                      </a:cubicBezTo>
                      <a:cubicBezTo>
                        <a:pt x="951" y="51"/>
                        <a:pt x="976" y="79"/>
                        <a:pt x="990" y="118"/>
                      </a:cubicBezTo>
                      <a:cubicBezTo>
                        <a:pt x="1007" y="149"/>
                        <a:pt x="1016" y="200"/>
                        <a:pt x="1016" y="265"/>
                      </a:cubicBezTo>
                      <a:cubicBezTo>
                        <a:pt x="1016" y="361"/>
                        <a:pt x="993" y="426"/>
                        <a:pt x="948" y="457"/>
                      </a:cubicBezTo>
                      <a:close/>
                    </a:path>
                  </a:pathLst>
                </a:custGeom>
                <a:solidFill>
                  <a:srgbClr val="231E1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61" name="Freeform 60"/>
                <p:cNvSpPr>
                  <a:spLocks noChangeArrowheads="1"/>
                </p:cNvSpPr>
                <p:nvPr/>
              </p:nvSpPr>
              <p:spPr bwMode="auto">
                <a:xfrm>
                  <a:off x="2909888" y="4164013"/>
                  <a:ext cx="300037" cy="292100"/>
                </a:xfrm>
                <a:custGeom>
                  <a:avLst/>
                  <a:gdLst>
                    <a:gd name="T0" fmla="*/ 832 w 833"/>
                    <a:gd name="T1" fmla="*/ 530 h 811"/>
                    <a:gd name="T2" fmla="*/ 827 w 833"/>
                    <a:gd name="T3" fmla="*/ 606 h 811"/>
                    <a:gd name="T4" fmla="*/ 813 w 833"/>
                    <a:gd name="T5" fmla="*/ 657 h 811"/>
                    <a:gd name="T6" fmla="*/ 790 w 833"/>
                    <a:gd name="T7" fmla="*/ 699 h 811"/>
                    <a:gd name="T8" fmla="*/ 711 w 833"/>
                    <a:gd name="T9" fmla="*/ 773 h 811"/>
                    <a:gd name="T10" fmla="*/ 584 w 833"/>
                    <a:gd name="T11" fmla="*/ 807 h 811"/>
                    <a:gd name="T12" fmla="*/ 559 w 833"/>
                    <a:gd name="T13" fmla="*/ 810 h 811"/>
                    <a:gd name="T14" fmla="*/ 522 w 833"/>
                    <a:gd name="T15" fmla="*/ 810 h 811"/>
                    <a:gd name="T16" fmla="*/ 468 w 833"/>
                    <a:gd name="T17" fmla="*/ 810 h 811"/>
                    <a:gd name="T18" fmla="*/ 395 w 833"/>
                    <a:gd name="T19" fmla="*/ 810 h 811"/>
                    <a:gd name="T20" fmla="*/ 279 w 833"/>
                    <a:gd name="T21" fmla="*/ 810 h 811"/>
                    <a:gd name="T22" fmla="*/ 200 w 833"/>
                    <a:gd name="T23" fmla="*/ 804 h 811"/>
                    <a:gd name="T24" fmla="*/ 147 w 833"/>
                    <a:gd name="T25" fmla="*/ 793 h 811"/>
                    <a:gd name="T26" fmla="*/ 104 w 833"/>
                    <a:gd name="T27" fmla="*/ 776 h 811"/>
                    <a:gd name="T28" fmla="*/ 25 w 833"/>
                    <a:gd name="T29" fmla="*/ 697 h 811"/>
                    <a:gd name="T30" fmla="*/ 0 w 833"/>
                    <a:gd name="T31" fmla="*/ 570 h 811"/>
                    <a:gd name="T32" fmla="*/ 0 w 833"/>
                    <a:gd name="T33" fmla="*/ 556 h 811"/>
                    <a:gd name="T34" fmla="*/ 0 w 833"/>
                    <a:gd name="T35" fmla="*/ 536 h 811"/>
                    <a:gd name="T36" fmla="*/ 0 w 833"/>
                    <a:gd name="T37" fmla="*/ 510 h 811"/>
                    <a:gd name="T38" fmla="*/ 0 w 833"/>
                    <a:gd name="T39" fmla="*/ 462 h 811"/>
                    <a:gd name="T40" fmla="*/ 234 w 833"/>
                    <a:gd name="T41" fmla="*/ 462 h 811"/>
                    <a:gd name="T42" fmla="*/ 234 w 833"/>
                    <a:gd name="T43" fmla="*/ 488 h 811"/>
                    <a:gd name="T44" fmla="*/ 237 w 833"/>
                    <a:gd name="T45" fmla="*/ 541 h 811"/>
                    <a:gd name="T46" fmla="*/ 245 w 833"/>
                    <a:gd name="T47" fmla="*/ 575 h 811"/>
                    <a:gd name="T48" fmla="*/ 262 w 833"/>
                    <a:gd name="T49" fmla="*/ 595 h 811"/>
                    <a:gd name="T50" fmla="*/ 290 w 833"/>
                    <a:gd name="T51" fmla="*/ 606 h 811"/>
                    <a:gd name="T52" fmla="*/ 417 w 833"/>
                    <a:gd name="T53" fmla="*/ 618 h 811"/>
                    <a:gd name="T54" fmla="*/ 505 w 833"/>
                    <a:gd name="T55" fmla="*/ 612 h 811"/>
                    <a:gd name="T56" fmla="*/ 556 w 833"/>
                    <a:gd name="T57" fmla="*/ 595 h 811"/>
                    <a:gd name="T58" fmla="*/ 573 w 833"/>
                    <a:gd name="T59" fmla="*/ 581 h 811"/>
                    <a:gd name="T60" fmla="*/ 581 w 833"/>
                    <a:gd name="T61" fmla="*/ 561 h 811"/>
                    <a:gd name="T62" fmla="*/ 587 w 833"/>
                    <a:gd name="T63" fmla="*/ 525 h 811"/>
                    <a:gd name="T64" fmla="*/ 587 w 833"/>
                    <a:gd name="T65" fmla="*/ 462 h 811"/>
                    <a:gd name="T66" fmla="*/ 587 w 833"/>
                    <a:gd name="T67" fmla="*/ 0 h 811"/>
                    <a:gd name="T68" fmla="*/ 832 w 833"/>
                    <a:gd name="T69" fmla="*/ 0 h 811"/>
                    <a:gd name="T70" fmla="*/ 832 w 833"/>
                    <a:gd name="T71" fmla="*/ 412 h 811"/>
                    <a:gd name="T72" fmla="*/ 832 w 833"/>
                    <a:gd name="T73" fmla="*/ 530 h 8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833" h="811">
                      <a:moveTo>
                        <a:pt x="832" y="530"/>
                      </a:moveTo>
                      <a:cubicBezTo>
                        <a:pt x="832" y="561"/>
                        <a:pt x="829" y="586"/>
                        <a:pt x="827" y="606"/>
                      </a:cubicBezTo>
                      <a:cubicBezTo>
                        <a:pt x="824" y="625"/>
                        <a:pt x="818" y="643"/>
                        <a:pt x="813" y="657"/>
                      </a:cubicBezTo>
                      <a:cubicBezTo>
                        <a:pt x="807" y="671"/>
                        <a:pt x="801" y="683"/>
                        <a:pt x="790" y="699"/>
                      </a:cubicBezTo>
                      <a:cubicBezTo>
                        <a:pt x="770" y="731"/>
                        <a:pt x="745" y="756"/>
                        <a:pt x="711" y="773"/>
                      </a:cubicBezTo>
                      <a:cubicBezTo>
                        <a:pt x="680" y="790"/>
                        <a:pt x="638" y="801"/>
                        <a:pt x="584" y="807"/>
                      </a:cubicBezTo>
                      <a:cubicBezTo>
                        <a:pt x="575" y="807"/>
                        <a:pt x="567" y="810"/>
                        <a:pt x="559" y="810"/>
                      </a:cubicBezTo>
                      <a:lnTo>
                        <a:pt x="522" y="810"/>
                      </a:lnTo>
                      <a:lnTo>
                        <a:pt x="468" y="810"/>
                      </a:lnTo>
                      <a:lnTo>
                        <a:pt x="395" y="810"/>
                      </a:lnTo>
                      <a:lnTo>
                        <a:pt x="279" y="810"/>
                      </a:lnTo>
                      <a:cubicBezTo>
                        <a:pt x="248" y="810"/>
                        <a:pt x="223" y="807"/>
                        <a:pt x="200" y="804"/>
                      </a:cubicBezTo>
                      <a:cubicBezTo>
                        <a:pt x="180" y="801"/>
                        <a:pt x="161" y="795"/>
                        <a:pt x="147" y="793"/>
                      </a:cubicBezTo>
                      <a:lnTo>
                        <a:pt x="104" y="776"/>
                      </a:lnTo>
                      <a:cubicBezTo>
                        <a:pt x="68" y="756"/>
                        <a:pt x="42" y="731"/>
                        <a:pt x="25" y="697"/>
                      </a:cubicBezTo>
                      <a:cubicBezTo>
                        <a:pt x="8" y="663"/>
                        <a:pt x="0" y="620"/>
                        <a:pt x="0" y="570"/>
                      </a:cubicBezTo>
                      <a:lnTo>
                        <a:pt x="0" y="556"/>
                      </a:lnTo>
                      <a:lnTo>
                        <a:pt x="0" y="536"/>
                      </a:lnTo>
                      <a:lnTo>
                        <a:pt x="0" y="510"/>
                      </a:lnTo>
                      <a:lnTo>
                        <a:pt x="0" y="462"/>
                      </a:lnTo>
                      <a:lnTo>
                        <a:pt x="234" y="462"/>
                      </a:lnTo>
                      <a:lnTo>
                        <a:pt x="234" y="488"/>
                      </a:lnTo>
                      <a:cubicBezTo>
                        <a:pt x="234" y="508"/>
                        <a:pt x="234" y="526"/>
                        <a:pt x="237" y="541"/>
                      </a:cubicBezTo>
                      <a:cubicBezTo>
                        <a:pt x="240" y="555"/>
                        <a:pt x="242" y="567"/>
                        <a:pt x="245" y="575"/>
                      </a:cubicBezTo>
                      <a:cubicBezTo>
                        <a:pt x="248" y="584"/>
                        <a:pt x="254" y="589"/>
                        <a:pt x="262" y="595"/>
                      </a:cubicBezTo>
                      <a:cubicBezTo>
                        <a:pt x="271" y="601"/>
                        <a:pt x="279" y="604"/>
                        <a:pt x="290" y="606"/>
                      </a:cubicBezTo>
                      <a:cubicBezTo>
                        <a:pt x="316" y="615"/>
                        <a:pt x="358" y="618"/>
                        <a:pt x="417" y="618"/>
                      </a:cubicBezTo>
                      <a:cubicBezTo>
                        <a:pt x="454" y="618"/>
                        <a:pt x="482" y="615"/>
                        <a:pt x="505" y="612"/>
                      </a:cubicBezTo>
                      <a:cubicBezTo>
                        <a:pt x="528" y="609"/>
                        <a:pt x="544" y="604"/>
                        <a:pt x="556" y="595"/>
                      </a:cubicBezTo>
                      <a:cubicBezTo>
                        <a:pt x="564" y="589"/>
                        <a:pt x="570" y="587"/>
                        <a:pt x="573" y="581"/>
                      </a:cubicBezTo>
                      <a:cubicBezTo>
                        <a:pt x="575" y="575"/>
                        <a:pt x="578" y="570"/>
                        <a:pt x="581" y="561"/>
                      </a:cubicBezTo>
                      <a:cubicBezTo>
                        <a:pt x="584" y="553"/>
                        <a:pt x="584" y="539"/>
                        <a:pt x="587" y="525"/>
                      </a:cubicBezTo>
                      <a:lnTo>
                        <a:pt x="587" y="462"/>
                      </a:lnTo>
                      <a:lnTo>
                        <a:pt x="587" y="0"/>
                      </a:lnTo>
                      <a:lnTo>
                        <a:pt x="832" y="0"/>
                      </a:lnTo>
                      <a:lnTo>
                        <a:pt x="832" y="412"/>
                      </a:lnTo>
                      <a:lnTo>
                        <a:pt x="832" y="530"/>
                      </a:lnTo>
                    </a:path>
                  </a:pathLst>
                </a:custGeom>
                <a:solidFill>
                  <a:srgbClr val="231E1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62" name="Freeform 61"/>
                <p:cNvSpPr>
                  <a:spLocks noChangeArrowheads="1"/>
                </p:cNvSpPr>
                <p:nvPr/>
              </p:nvSpPr>
              <p:spPr bwMode="auto">
                <a:xfrm>
                  <a:off x="3289300" y="4073525"/>
                  <a:ext cx="88900" cy="377825"/>
                </a:xfrm>
                <a:custGeom>
                  <a:avLst/>
                  <a:gdLst>
                    <a:gd name="T0" fmla="*/ 0 w 246"/>
                    <a:gd name="T1" fmla="*/ 243 h 1051"/>
                    <a:gd name="T2" fmla="*/ 245 w 246"/>
                    <a:gd name="T3" fmla="*/ 243 h 1051"/>
                    <a:gd name="T4" fmla="*/ 245 w 246"/>
                    <a:gd name="T5" fmla="*/ 1050 h 1051"/>
                    <a:gd name="T6" fmla="*/ 0 w 246"/>
                    <a:gd name="T7" fmla="*/ 1050 h 1051"/>
                    <a:gd name="T8" fmla="*/ 0 w 246"/>
                    <a:gd name="T9" fmla="*/ 243 h 1051"/>
                    <a:gd name="T10" fmla="*/ 36 w 246"/>
                    <a:gd name="T11" fmla="*/ 0 h 1051"/>
                    <a:gd name="T12" fmla="*/ 208 w 246"/>
                    <a:gd name="T13" fmla="*/ 0 h 1051"/>
                    <a:gd name="T14" fmla="*/ 208 w 246"/>
                    <a:gd name="T15" fmla="*/ 130 h 1051"/>
                    <a:gd name="T16" fmla="*/ 36 w 246"/>
                    <a:gd name="T17" fmla="*/ 130 h 1051"/>
                    <a:gd name="T18" fmla="*/ 36 w 246"/>
                    <a:gd name="T19" fmla="*/ 0 h 10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46" h="1051">
                      <a:moveTo>
                        <a:pt x="0" y="243"/>
                      </a:moveTo>
                      <a:lnTo>
                        <a:pt x="245" y="243"/>
                      </a:lnTo>
                      <a:lnTo>
                        <a:pt x="245" y="1050"/>
                      </a:lnTo>
                      <a:lnTo>
                        <a:pt x="0" y="1050"/>
                      </a:lnTo>
                      <a:lnTo>
                        <a:pt x="0" y="243"/>
                      </a:lnTo>
                      <a:close/>
                      <a:moveTo>
                        <a:pt x="36" y="0"/>
                      </a:moveTo>
                      <a:lnTo>
                        <a:pt x="208" y="0"/>
                      </a:lnTo>
                      <a:lnTo>
                        <a:pt x="208" y="130"/>
                      </a:lnTo>
                      <a:lnTo>
                        <a:pt x="36" y="13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rgbClr val="231E1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55" name="Freeform 54"/>
              <p:cNvSpPr>
                <a:spLocks noChangeArrowheads="1"/>
              </p:cNvSpPr>
              <p:nvPr userDrawn="1"/>
            </p:nvSpPr>
            <p:spPr bwMode="auto">
              <a:xfrm>
                <a:off x="4641850" y="4095750"/>
                <a:ext cx="1457325" cy="355600"/>
              </a:xfrm>
              <a:custGeom>
                <a:avLst/>
                <a:gdLst>
                  <a:gd name="T0" fmla="*/ 4047 w 4048"/>
                  <a:gd name="T1" fmla="*/ 177 h 988"/>
                  <a:gd name="T2" fmla="*/ 3604 w 4048"/>
                  <a:gd name="T3" fmla="*/ 866 h 988"/>
                  <a:gd name="T4" fmla="*/ 3161 w 4048"/>
                  <a:gd name="T5" fmla="*/ 177 h 988"/>
                  <a:gd name="T6" fmla="*/ 3251 w 4048"/>
                  <a:gd name="T7" fmla="*/ 982 h 988"/>
                  <a:gd name="T8" fmla="*/ 3254 w 4048"/>
                  <a:gd name="T9" fmla="*/ 245 h 988"/>
                  <a:gd name="T10" fmla="*/ 3649 w 4048"/>
                  <a:gd name="T11" fmla="*/ 982 h 988"/>
                  <a:gd name="T12" fmla="*/ 3957 w 4048"/>
                  <a:gd name="T13" fmla="*/ 245 h 988"/>
                  <a:gd name="T14" fmla="*/ 4047 w 4048"/>
                  <a:gd name="T15" fmla="*/ 982 h 988"/>
                  <a:gd name="T16" fmla="*/ 2997 w 4048"/>
                  <a:gd name="T17" fmla="*/ 177 h 988"/>
                  <a:gd name="T18" fmla="*/ 2907 w 4048"/>
                  <a:gd name="T19" fmla="*/ 982 h 988"/>
                  <a:gd name="T20" fmla="*/ 2907 w 4048"/>
                  <a:gd name="T21" fmla="*/ 0 h 988"/>
                  <a:gd name="T22" fmla="*/ 3000 w 4048"/>
                  <a:gd name="T23" fmla="*/ 79 h 988"/>
                  <a:gd name="T24" fmla="*/ 2907 w 4048"/>
                  <a:gd name="T25" fmla="*/ 0 h 988"/>
                  <a:gd name="T26" fmla="*/ 2786 w 4048"/>
                  <a:gd name="T27" fmla="*/ 177 h 988"/>
                  <a:gd name="T28" fmla="*/ 2173 w 4048"/>
                  <a:gd name="T29" fmla="*/ 259 h 988"/>
                  <a:gd name="T30" fmla="*/ 2433 w 4048"/>
                  <a:gd name="T31" fmla="*/ 984 h 988"/>
                  <a:gd name="T32" fmla="*/ 2523 w 4048"/>
                  <a:gd name="T33" fmla="*/ 259 h 988"/>
                  <a:gd name="T34" fmla="*/ 2069 w 4048"/>
                  <a:gd name="T35" fmla="*/ 982 h 988"/>
                  <a:gd name="T36" fmla="*/ 1643 w 4048"/>
                  <a:gd name="T37" fmla="*/ 903 h 988"/>
                  <a:gd name="T38" fmla="*/ 2049 w 4048"/>
                  <a:gd name="T39" fmla="*/ 609 h 988"/>
                  <a:gd name="T40" fmla="*/ 1643 w 4048"/>
                  <a:gd name="T41" fmla="*/ 533 h 988"/>
                  <a:gd name="T42" fmla="*/ 2069 w 4048"/>
                  <a:gd name="T43" fmla="*/ 259 h 988"/>
                  <a:gd name="T44" fmla="*/ 1553 w 4048"/>
                  <a:gd name="T45" fmla="*/ 180 h 988"/>
                  <a:gd name="T46" fmla="*/ 2069 w 4048"/>
                  <a:gd name="T47" fmla="*/ 984 h 988"/>
                  <a:gd name="T48" fmla="*/ 1324 w 4048"/>
                  <a:gd name="T49" fmla="*/ 335 h 988"/>
                  <a:gd name="T50" fmla="*/ 1256 w 4048"/>
                  <a:gd name="T51" fmla="*/ 265 h 988"/>
                  <a:gd name="T52" fmla="*/ 889 w 4048"/>
                  <a:gd name="T53" fmla="*/ 256 h 988"/>
                  <a:gd name="T54" fmla="*/ 1172 w 4048"/>
                  <a:gd name="T55" fmla="*/ 581 h 988"/>
                  <a:gd name="T56" fmla="*/ 1304 w 4048"/>
                  <a:gd name="T57" fmla="*/ 541 h 988"/>
                  <a:gd name="T58" fmla="*/ 1330 w 4048"/>
                  <a:gd name="T59" fmla="*/ 400 h 988"/>
                  <a:gd name="T60" fmla="*/ 1417 w 4048"/>
                  <a:gd name="T61" fmla="*/ 488 h 988"/>
                  <a:gd name="T62" fmla="*/ 1358 w 4048"/>
                  <a:gd name="T63" fmla="*/ 598 h 988"/>
                  <a:gd name="T64" fmla="*/ 1282 w 4048"/>
                  <a:gd name="T65" fmla="*/ 626 h 988"/>
                  <a:gd name="T66" fmla="*/ 1411 w 4048"/>
                  <a:gd name="T67" fmla="*/ 770 h 988"/>
                  <a:gd name="T68" fmla="*/ 1318 w 4048"/>
                  <a:gd name="T69" fmla="*/ 984 h 988"/>
                  <a:gd name="T70" fmla="*/ 1313 w 4048"/>
                  <a:gd name="T71" fmla="*/ 747 h 988"/>
                  <a:gd name="T72" fmla="*/ 1251 w 4048"/>
                  <a:gd name="T73" fmla="*/ 671 h 988"/>
                  <a:gd name="T74" fmla="*/ 889 w 4048"/>
                  <a:gd name="T75" fmla="*/ 663 h 988"/>
                  <a:gd name="T76" fmla="*/ 799 w 4048"/>
                  <a:gd name="T77" fmla="*/ 984 h 988"/>
                  <a:gd name="T78" fmla="*/ 1169 w 4048"/>
                  <a:gd name="T79" fmla="*/ 180 h 988"/>
                  <a:gd name="T80" fmla="*/ 1361 w 4048"/>
                  <a:gd name="T81" fmla="*/ 228 h 988"/>
                  <a:gd name="T82" fmla="*/ 1420 w 4048"/>
                  <a:gd name="T83" fmla="*/ 409 h 988"/>
                  <a:gd name="T84" fmla="*/ 379 w 4048"/>
                  <a:gd name="T85" fmla="*/ 42 h 988"/>
                  <a:gd name="T86" fmla="*/ 472 w 4048"/>
                  <a:gd name="T87" fmla="*/ 121 h 988"/>
                  <a:gd name="T88" fmla="*/ 379 w 4048"/>
                  <a:gd name="T89" fmla="*/ 42 h 988"/>
                  <a:gd name="T90" fmla="*/ 257 w 4048"/>
                  <a:gd name="T91" fmla="*/ 42 h 988"/>
                  <a:gd name="T92" fmla="*/ 164 w 4048"/>
                  <a:gd name="T93" fmla="*/ 121 h 988"/>
                  <a:gd name="T94" fmla="*/ 551 w 4048"/>
                  <a:gd name="T95" fmla="*/ 953 h 988"/>
                  <a:gd name="T96" fmla="*/ 319 w 4048"/>
                  <a:gd name="T97" fmla="*/ 987 h 988"/>
                  <a:gd name="T98" fmla="*/ 94 w 4048"/>
                  <a:gd name="T99" fmla="*/ 956 h 988"/>
                  <a:gd name="T100" fmla="*/ 0 w 4048"/>
                  <a:gd name="T101" fmla="*/ 756 h 988"/>
                  <a:gd name="T102" fmla="*/ 91 w 4048"/>
                  <a:gd name="T103" fmla="*/ 177 h 988"/>
                  <a:gd name="T104" fmla="*/ 99 w 4048"/>
                  <a:gd name="T105" fmla="*/ 835 h 988"/>
                  <a:gd name="T106" fmla="*/ 198 w 4048"/>
                  <a:gd name="T107" fmla="*/ 903 h 988"/>
                  <a:gd name="T108" fmla="*/ 421 w 4048"/>
                  <a:gd name="T109" fmla="*/ 905 h 988"/>
                  <a:gd name="T110" fmla="*/ 531 w 4048"/>
                  <a:gd name="T111" fmla="*/ 843 h 988"/>
                  <a:gd name="T112" fmla="*/ 545 w 4048"/>
                  <a:gd name="T113" fmla="*/ 177 h 988"/>
                  <a:gd name="T114" fmla="*/ 635 w 4048"/>
                  <a:gd name="T115" fmla="*/ 756 h 988"/>
                  <a:gd name="T116" fmla="*/ 551 w 4048"/>
                  <a:gd name="T117" fmla="*/ 953 h 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048" h="988">
                    <a:moveTo>
                      <a:pt x="4047" y="982"/>
                    </a:moveTo>
                    <a:lnTo>
                      <a:pt x="4047" y="177"/>
                    </a:lnTo>
                    <a:lnTo>
                      <a:pt x="3889" y="177"/>
                    </a:lnTo>
                    <a:lnTo>
                      <a:pt x="3604" y="866"/>
                    </a:lnTo>
                    <a:lnTo>
                      <a:pt x="3319" y="177"/>
                    </a:lnTo>
                    <a:lnTo>
                      <a:pt x="3161" y="177"/>
                    </a:lnTo>
                    <a:lnTo>
                      <a:pt x="3161" y="982"/>
                    </a:lnTo>
                    <a:lnTo>
                      <a:pt x="3251" y="982"/>
                    </a:lnTo>
                    <a:lnTo>
                      <a:pt x="3251" y="245"/>
                    </a:lnTo>
                    <a:lnTo>
                      <a:pt x="3254" y="245"/>
                    </a:lnTo>
                    <a:lnTo>
                      <a:pt x="3559" y="982"/>
                    </a:lnTo>
                    <a:lnTo>
                      <a:pt x="3649" y="982"/>
                    </a:lnTo>
                    <a:lnTo>
                      <a:pt x="3954" y="245"/>
                    </a:lnTo>
                    <a:lnTo>
                      <a:pt x="3957" y="245"/>
                    </a:lnTo>
                    <a:lnTo>
                      <a:pt x="3957" y="982"/>
                    </a:lnTo>
                    <a:lnTo>
                      <a:pt x="4047" y="982"/>
                    </a:lnTo>
                    <a:close/>
                    <a:moveTo>
                      <a:pt x="2907" y="177"/>
                    </a:moveTo>
                    <a:lnTo>
                      <a:pt x="2997" y="177"/>
                    </a:lnTo>
                    <a:lnTo>
                      <a:pt x="2997" y="982"/>
                    </a:lnTo>
                    <a:lnTo>
                      <a:pt x="2907" y="982"/>
                    </a:lnTo>
                    <a:lnTo>
                      <a:pt x="2907" y="177"/>
                    </a:lnTo>
                    <a:close/>
                    <a:moveTo>
                      <a:pt x="2907" y="0"/>
                    </a:moveTo>
                    <a:lnTo>
                      <a:pt x="3000" y="0"/>
                    </a:lnTo>
                    <a:lnTo>
                      <a:pt x="3000" y="79"/>
                    </a:lnTo>
                    <a:lnTo>
                      <a:pt x="2907" y="79"/>
                    </a:lnTo>
                    <a:lnTo>
                      <a:pt x="2907" y="0"/>
                    </a:lnTo>
                    <a:close/>
                    <a:moveTo>
                      <a:pt x="2786" y="259"/>
                    </a:moveTo>
                    <a:lnTo>
                      <a:pt x="2786" y="177"/>
                    </a:lnTo>
                    <a:lnTo>
                      <a:pt x="2173" y="177"/>
                    </a:lnTo>
                    <a:lnTo>
                      <a:pt x="2173" y="259"/>
                    </a:lnTo>
                    <a:lnTo>
                      <a:pt x="2433" y="259"/>
                    </a:lnTo>
                    <a:lnTo>
                      <a:pt x="2433" y="984"/>
                    </a:lnTo>
                    <a:lnTo>
                      <a:pt x="2523" y="984"/>
                    </a:lnTo>
                    <a:lnTo>
                      <a:pt x="2523" y="259"/>
                    </a:lnTo>
                    <a:lnTo>
                      <a:pt x="2786" y="259"/>
                    </a:lnTo>
                    <a:close/>
                    <a:moveTo>
                      <a:pt x="2069" y="982"/>
                    </a:moveTo>
                    <a:lnTo>
                      <a:pt x="2069" y="903"/>
                    </a:lnTo>
                    <a:lnTo>
                      <a:pt x="1643" y="903"/>
                    </a:lnTo>
                    <a:lnTo>
                      <a:pt x="1643" y="609"/>
                    </a:lnTo>
                    <a:lnTo>
                      <a:pt x="2049" y="609"/>
                    </a:lnTo>
                    <a:lnTo>
                      <a:pt x="2049" y="533"/>
                    </a:lnTo>
                    <a:lnTo>
                      <a:pt x="1643" y="533"/>
                    </a:lnTo>
                    <a:lnTo>
                      <a:pt x="1643" y="259"/>
                    </a:lnTo>
                    <a:lnTo>
                      <a:pt x="2069" y="259"/>
                    </a:lnTo>
                    <a:lnTo>
                      <a:pt x="2069" y="180"/>
                    </a:lnTo>
                    <a:lnTo>
                      <a:pt x="1553" y="180"/>
                    </a:lnTo>
                    <a:lnTo>
                      <a:pt x="1553" y="984"/>
                    </a:lnTo>
                    <a:lnTo>
                      <a:pt x="2069" y="984"/>
                    </a:lnTo>
                    <a:lnTo>
                      <a:pt x="2069" y="982"/>
                    </a:lnTo>
                    <a:close/>
                    <a:moveTo>
                      <a:pt x="1324" y="335"/>
                    </a:moveTo>
                    <a:cubicBezTo>
                      <a:pt x="1321" y="318"/>
                      <a:pt x="1315" y="301"/>
                      <a:pt x="1304" y="290"/>
                    </a:cubicBezTo>
                    <a:cubicBezTo>
                      <a:pt x="1293" y="278"/>
                      <a:pt x="1279" y="270"/>
                      <a:pt x="1256" y="265"/>
                    </a:cubicBezTo>
                    <a:cubicBezTo>
                      <a:pt x="1234" y="259"/>
                      <a:pt x="1205" y="256"/>
                      <a:pt x="1172" y="256"/>
                    </a:cubicBezTo>
                    <a:lnTo>
                      <a:pt x="889" y="256"/>
                    </a:lnTo>
                    <a:lnTo>
                      <a:pt x="889" y="581"/>
                    </a:lnTo>
                    <a:lnTo>
                      <a:pt x="1172" y="581"/>
                    </a:lnTo>
                    <a:cubicBezTo>
                      <a:pt x="1205" y="581"/>
                      <a:pt x="1234" y="578"/>
                      <a:pt x="1256" y="572"/>
                    </a:cubicBezTo>
                    <a:cubicBezTo>
                      <a:pt x="1276" y="567"/>
                      <a:pt x="1293" y="555"/>
                      <a:pt x="1304" y="541"/>
                    </a:cubicBezTo>
                    <a:cubicBezTo>
                      <a:pt x="1315" y="527"/>
                      <a:pt x="1321" y="508"/>
                      <a:pt x="1327" y="485"/>
                    </a:cubicBezTo>
                    <a:cubicBezTo>
                      <a:pt x="1327" y="460"/>
                      <a:pt x="1330" y="434"/>
                      <a:pt x="1330" y="400"/>
                    </a:cubicBezTo>
                    <a:cubicBezTo>
                      <a:pt x="1330" y="375"/>
                      <a:pt x="1327" y="352"/>
                      <a:pt x="1324" y="335"/>
                    </a:cubicBezTo>
                    <a:close/>
                    <a:moveTo>
                      <a:pt x="1417" y="488"/>
                    </a:moveTo>
                    <a:cubicBezTo>
                      <a:pt x="1414" y="513"/>
                      <a:pt x="1409" y="533"/>
                      <a:pt x="1400" y="553"/>
                    </a:cubicBezTo>
                    <a:cubicBezTo>
                      <a:pt x="1392" y="572"/>
                      <a:pt x="1378" y="587"/>
                      <a:pt x="1358" y="598"/>
                    </a:cubicBezTo>
                    <a:cubicBezTo>
                      <a:pt x="1338" y="609"/>
                      <a:pt x="1313" y="618"/>
                      <a:pt x="1282" y="623"/>
                    </a:cubicBezTo>
                    <a:lnTo>
                      <a:pt x="1282" y="626"/>
                    </a:lnTo>
                    <a:cubicBezTo>
                      <a:pt x="1327" y="629"/>
                      <a:pt x="1361" y="642"/>
                      <a:pt x="1380" y="668"/>
                    </a:cubicBezTo>
                    <a:cubicBezTo>
                      <a:pt x="1400" y="693"/>
                      <a:pt x="1411" y="728"/>
                      <a:pt x="1411" y="770"/>
                    </a:cubicBezTo>
                    <a:lnTo>
                      <a:pt x="1411" y="984"/>
                    </a:lnTo>
                    <a:lnTo>
                      <a:pt x="1318" y="984"/>
                    </a:lnTo>
                    <a:lnTo>
                      <a:pt x="1318" y="815"/>
                    </a:lnTo>
                    <a:cubicBezTo>
                      <a:pt x="1318" y="790"/>
                      <a:pt x="1315" y="767"/>
                      <a:pt x="1313" y="747"/>
                    </a:cubicBezTo>
                    <a:cubicBezTo>
                      <a:pt x="1310" y="728"/>
                      <a:pt x="1301" y="714"/>
                      <a:pt x="1293" y="699"/>
                    </a:cubicBezTo>
                    <a:cubicBezTo>
                      <a:pt x="1282" y="688"/>
                      <a:pt x="1270" y="677"/>
                      <a:pt x="1251" y="671"/>
                    </a:cubicBezTo>
                    <a:cubicBezTo>
                      <a:pt x="1234" y="666"/>
                      <a:pt x="1211" y="663"/>
                      <a:pt x="1183" y="663"/>
                    </a:cubicBezTo>
                    <a:lnTo>
                      <a:pt x="889" y="663"/>
                    </a:lnTo>
                    <a:lnTo>
                      <a:pt x="889" y="984"/>
                    </a:lnTo>
                    <a:lnTo>
                      <a:pt x="799" y="984"/>
                    </a:lnTo>
                    <a:lnTo>
                      <a:pt x="799" y="180"/>
                    </a:lnTo>
                    <a:lnTo>
                      <a:pt x="1169" y="180"/>
                    </a:lnTo>
                    <a:cubicBezTo>
                      <a:pt x="1211" y="180"/>
                      <a:pt x="1251" y="183"/>
                      <a:pt x="1282" y="191"/>
                    </a:cubicBezTo>
                    <a:cubicBezTo>
                      <a:pt x="1313" y="197"/>
                      <a:pt x="1338" y="211"/>
                      <a:pt x="1361" y="228"/>
                    </a:cubicBezTo>
                    <a:cubicBezTo>
                      <a:pt x="1380" y="245"/>
                      <a:pt x="1397" y="270"/>
                      <a:pt x="1406" y="299"/>
                    </a:cubicBezTo>
                    <a:cubicBezTo>
                      <a:pt x="1414" y="327"/>
                      <a:pt x="1420" y="364"/>
                      <a:pt x="1420" y="409"/>
                    </a:cubicBezTo>
                    <a:cubicBezTo>
                      <a:pt x="1420" y="437"/>
                      <a:pt x="1420" y="462"/>
                      <a:pt x="1417" y="488"/>
                    </a:cubicBezTo>
                    <a:close/>
                    <a:moveTo>
                      <a:pt x="379" y="42"/>
                    </a:moveTo>
                    <a:lnTo>
                      <a:pt x="472" y="42"/>
                    </a:lnTo>
                    <a:lnTo>
                      <a:pt x="472" y="121"/>
                    </a:lnTo>
                    <a:lnTo>
                      <a:pt x="379" y="121"/>
                    </a:lnTo>
                    <a:lnTo>
                      <a:pt x="379" y="42"/>
                    </a:lnTo>
                    <a:close/>
                    <a:moveTo>
                      <a:pt x="164" y="42"/>
                    </a:moveTo>
                    <a:lnTo>
                      <a:pt x="257" y="42"/>
                    </a:lnTo>
                    <a:lnTo>
                      <a:pt x="257" y="121"/>
                    </a:lnTo>
                    <a:lnTo>
                      <a:pt x="164" y="121"/>
                    </a:lnTo>
                    <a:lnTo>
                      <a:pt x="164" y="42"/>
                    </a:lnTo>
                    <a:close/>
                    <a:moveTo>
                      <a:pt x="551" y="953"/>
                    </a:moveTo>
                    <a:cubicBezTo>
                      <a:pt x="523" y="967"/>
                      <a:pt x="489" y="979"/>
                      <a:pt x="449" y="982"/>
                    </a:cubicBezTo>
                    <a:cubicBezTo>
                      <a:pt x="410" y="984"/>
                      <a:pt x="367" y="987"/>
                      <a:pt x="319" y="987"/>
                    </a:cubicBezTo>
                    <a:cubicBezTo>
                      <a:pt x="277" y="987"/>
                      <a:pt x="235" y="984"/>
                      <a:pt x="195" y="982"/>
                    </a:cubicBezTo>
                    <a:cubicBezTo>
                      <a:pt x="156" y="979"/>
                      <a:pt x="123" y="970"/>
                      <a:pt x="94" y="956"/>
                    </a:cubicBezTo>
                    <a:cubicBezTo>
                      <a:pt x="66" y="942"/>
                      <a:pt x="43" y="920"/>
                      <a:pt x="26" y="888"/>
                    </a:cubicBezTo>
                    <a:cubicBezTo>
                      <a:pt x="9" y="857"/>
                      <a:pt x="0" y="812"/>
                      <a:pt x="0" y="756"/>
                    </a:cubicBezTo>
                    <a:lnTo>
                      <a:pt x="0" y="177"/>
                    </a:lnTo>
                    <a:lnTo>
                      <a:pt x="91" y="177"/>
                    </a:lnTo>
                    <a:lnTo>
                      <a:pt x="91" y="756"/>
                    </a:lnTo>
                    <a:cubicBezTo>
                      <a:pt x="91" y="790"/>
                      <a:pt x="94" y="815"/>
                      <a:pt x="99" y="835"/>
                    </a:cubicBezTo>
                    <a:cubicBezTo>
                      <a:pt x="105" y="855"/>
                      <a:pt x="116" y="869"/>
                      <a:pt x="130" y="880"/>
                    </a:cubicBezTo>
                    <a:cubicBezTo>
                      <a:pt x="147" y="891"/>
                      <a:pt x="170" y="897"/>
                      <a:pt x="198" y="903"/>
                    </a:cubicBezTo>
                    <a:cubicBezTo>
                      <a:pt x="226" y="905"/>
                      <a:pt x="269" y="908"/>
                      <a:pt x="317" y="908"/>
                    </a:cubicBezTo>
                    <a:cubicBezTo>
                      <a:pt x="356" y="908"/>
                      <a:pt x="393" y="907"/>
                      <a:pt x="421" y="905"/>
                    </a:cubicBezTo>
                    <a:cubicBezTo>
                      <a:pt x="449" y="902"/>
                      <a:pt x="472" y="897"/>
                      <a:pt x="491" y="888"/>
                    </a:cubicBezTo>
                    <a:cubicBezTo>
                      <a:pt x="508" y="880"/>
                      <a:pt x="523" y="863"/>
                      <a:pt x="531" y="843"/>
                    </a:cubicBezTo>
                    <a:cubicBezTo>
                      <a:pt x="539" y="824"/>
                      <a:pt x="545" y="793"/>
                      <a:pt x="545" y="756"/>
                    </a:cubicBezTo>
                    <a:lnTo>
                      <a:pt x="545" y="177"/>
                    </a:lnTo>
                    <a:lnTo>
                      <a:pt x="635" y="177"/>
                    </a:lnTo>
                    <a:lnTo>
                      <a:pt x="635" y="756"/>
                    </a:lnTo>
                    <a:cubicBezTo>
                      <a:pt x="638" y="809"/>
                      <a:pt x="630" y="852"/>
                      <a:pt x="616" y="883"/>
                    </a:cubicBezTo>
                    <a:cubicBezTo>
                      <a:pt x="602" y="914"/>
                      <a:pt x="579" y="936"/>
                      <a:pt x="551" y="953"/>
                    </a:cubicBezTo>
                    <a:close/>
                  </a:path>
                </a:pathLst>
              </a:custGeom>
              <a:solidFill>
                <a:srgbClr val="2A252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39" name="Group 38"/>
            <p:cNvGrpSpPr/>
            <p:nvPr userDrawn="1"/>
          </p:nvGrpSpPr>
          <p:grpSpPr>
            <a:xfrm>
              <a:off x="2780636" y="5090096"/>
              <a:ext cx="5397333" cy="1085993"/>
              <a:chOff x="2780636" y="5179699"/>
              <a:chExt cx="5397333" cy="1085993"/>
            </a:xfrm>
          </p:grpSpPr>
          <p:sp>
            <p:nvSpPr>
              <p:cNvPr id="40" name="Freeform 39"/>
              <p:cNvSpPr>
                <a:spLocks noChangeArrowheads="1"/>
              </p:cNvSpPr>
              <p:nvPr userDrawn="1"/>
            </p:nvSpPr>
            <p:spPr bwMode="auto">
              <a:xfrm>
                <a:off x="4957075" y="5179699"/>
                <a:ext cx="36000" cy="1085993"/>
              </a:xfrm>
              <a:custGeom>
                <a:avLst/>
                <a:gdLst>
                  <a:gd name="T0" fmla="*/ 16 w 32"/>
                  <a:gd name="T1" fmla="*/ 1611 h 1612"/>
                  <a:gd name="T2" fmla="*/ 0 w 32"/>
                  <a:gd name="T3" fmla="*/ 1611 h 1612"/>
                  <a:gd name="T4" fmla="*/ 0 w 32"/>
                  <a:gd name="T5" fmla="*/ 0 h 1612"/>
                  <a:gd name="T6" fmla="*/ 31 w 32"/>
                  <a:gd name="T7" fmla="*/ 0 h 1612"/>
                  <a:gd name="T8" fmla="*/ 31 w 32"/>
                  <a:gd name="T9" fmla="*/ 1611 h 1612"/>
                  <a:gd name="T10" fmla="*/ 16 w 32"/>
                  <a:gd name="T11" fmla="*/ 1611 h 16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2" h="1612">
                    <a:moveTo>
                      <a:pt x="16" y="1611"/>
                    </a:moveTo>
                    <a:lnTo>
                      <a:pt x="0" y="1611"/>
                    </a:lnTo>
                    <a:lnTo>
                      <a:pt x="0" y="0"/>
                    </a:lnTo>
                    <a:lnTo>
                      <a:pt x="31" y="0"/>
                    </a:lnTo>
                    <a:lnTo>
                      <a:pt x="31" y="1611"/>
                    </a:lnTo>
                    <a:lnTo>
                      <a:pt x="16" y="1611"/>
                    </a:lnTo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grpSp>
            <p:nvGrpSpPr>
              <p:cNvPr id="42" name="Group 41"/>
              <p:cNvGrpSpPr/>
              <p:nvPr userDrawn="1"/>
            </p:nvGrpSpPr>
            <p:grpSpPr>
              <a:xfrm>
                <a:off x="5302755" y="5451197"/>
                <a:ext cx="2875214" cy="542997"/>
                <a:chOff x="3573463" y="5372100"/>
                <a:chExt cx="1538287" cy="290513"/>
              </a:xfrm>
            </p:grpSpPr>
            <p:sp>
              <p:nvSpPr>
                <p:cNvPr id="48" name="Freeform 47"/>
                <p:cNvSpPr>
                  <a:spLocks noChangeArrowheads="1"/>
                </p:cNvSpPr>
                <p:nvPr/>
              </p:nvSpPr>
              <p:spPr bwMode="auto">
                <a:xfrm>
                  <a:off x="4170363" y="5443538"/>
                  <a:ext cx="185737" cy="146050"/>
                </a:xfrm>
                <a:custGeom>
                  <a:avLst/>
                  <a:gdLst>
                    <a:gd name="T0" fmla="*/ 378 w 517"/>
                    <a:gd name="T1" fmla="*/ 313 h 405"/>
                    <a:gd name="T2" fmla="*/ 339 w 517"/>
                    <a:gd name="T3" fmla="*/ 316 h 405"/>
                    <a:gd name="T4" fmla="*/ 119 w 517"/>
                    <a:gd name="T5" fmla="*/ 316 h 405"/>
                    <a:gd name="T6" fmla="*/ 119 w 517"/>
                    <a:gd name="T7" fmla="*/ 243 h 405"/>
                    <a:gd name="T8" fmla="*/ 336 w 517"/>
                    <a:gd name="T9" fmla="*/ 243 h 405"/>
                    <a:gd name="T10" fmla="*/ 373 w 517"/>
                    <a:gd name="T11" fmla="*/ 246 h 405"/>
                    <a:gd name="T12" fmla="*/ 395 w 517"/>
                    <a:gd name="T13" fmla="*/ 280 h 405"/>
                    <a:gd name="T14" fmla="*/ 378 w 517"/>
                    <a:gd name="T15" fmla="*/ 313 h 405"/>
                    <a:gd name="T16" fmla="*/ 364 w 517"/>
                    <a:gd name="T17" fmla="*/ 155 h 405"/>
                    <a:gd name="T18" fmla="*/ 325 w 517"/>
                    <a:gd name="T19" fmla="*/ 161 h 405"/>
                    <a:gd name="T20" fmla="*/ 119 w 517"/>
                    <a:gd name="T21" fmla="*/ 161 h 405"/>
                    <a:gd name="T22" fmla="*/ 119 w 517"/>
                    <a:gd name="T23" fmla="*/ 90 h 405"/>
                    <a:gd name="T24" fmla="*/ 322 w 517"/>
                    <a:gd name="T25" fmla="*/ 90 h 405"/>
                    <a:gd name="T26" fmla="*/ 358 w 517"/>
                    <a:gd name="T27" fmla="*/ 93 h 405"/>
                    <a:gd name="T28" fmla="*/ 378 w 517"/>
                    <a:gd name="T29" fmla="*/ 127 h 405"/>
                    <a:gd name="T30" fmla="*/ 364 w 517"/>
                    <a:gd name="T31" fmla="*/ 155 h 405"/>
                    <a:gd name="T32" fmla="*/ 491 w 517"/>
                    <a:gd name="T33" fmla="*/ 220 h 405"/>
                    <a:gd name="T34" fmla="*/ 423 w 517"/>
                    <a:gd name="T35" fmla="*/ 201 h 405"/>
                    <a:gd name="T36" fmla="*/ 477 w 517"/>
                    <a:gd name="T37" fmla="*/ 181 h 405"/>
                    <a:gd name="T38" fmla="*/ 502 w 517"/>
                    <a:gd name="T39" fmla="*/ 107 h 405"/>
                    <a:gd name="T40" fmla="*/ 460 w 517"/>
                    <a:gd name="T41" fmla="*/ 17 h 405"/>
                    <a:gd name="T42" fmla="*/ 364 w 517"/>
                    <a:gd name="T43" fmla="*/ 0 h 405"/>
                    <a:gd name="T44" fmla="*/ 0 w 517"/>
                    <a:gd name="T45" fmla="*/ 0 h 405"/>
                    <a:gd name="T46" fmla="*/ 0 w 517"/>
                    <a:gd name="T47" fmla="*/ 404 h 405"/>
                    <a:gd name="T48" fmla="*/ 381 w 517"/>
                    <a:gd name="T49" fmla="*/ 404 h 405"/>
                    <a:gd name="T50" fmla="*/ 471 w 517"/>
                    <a:gd name="T51" fmla="*/ 390 h 405"/>
                    <a:gd name="T52" fmla="*/ 516 w 517"/>
                    <a:gd name="T53" fmla="*/ 294 h 405"/>
                    <a:gd name="T54" fmla="*/ 491 w 517"/>
                    <a:gd name="T55" fmla="*/ 220 h 4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517" h="405">
                      <a:moveTo>
                        <a:pt x="378" y="313"/>
                      </a:moveTo>
                      <a:cubicBezTo>
                        <a:pt x="370" y="316"/>
                        <a:pt x="364" y="316"/>
                        <a:pt x="339" y="316"/>
                      </a:cubicBezTo>
                      <a:lnTo>
                        <a:pt x="119" y="316"/>
                      </a:lnTo>
                      <a:lnTo>
                        <a:pt x="119" y="243"/>
                      </a:lnTo>
                      <a:lnTo>
                        <a:pt x="336" y="243"/>
                      </a:lnTo>
                      <a:cubicBezTo>
                        <a:pt x="361" y="243"/>
                        <a:pt x="367" y="243"/>
                        <a:pt x="373" y="246"/>
                      </a:cubicBezTo>
                      <a:cubicBezTo>
                        <a:pt x="387" y="248"/>
                        <a:pt x="395" y="260"/>
                        <a:pt x="395" y="280"/>
                      </a:cubicBezTo>
                      <a:cubicBezTo>
                        <a:pt x="395" y="296"/>
                        <a:pt x="389" y="308"/>
                        <a:pt x="378" y="313"/>
                      </a:cubicBezTo>
                      <a:close/>
                      <a:moveTo>
                        <a:pt x="364" y="155"/>
                      </a:moveTo>
                      <a:cubicBezTo>
                        <a:pt x="356" y="161"/>
                        <a:pt x="347" y="161"/>
                        <a:pt x="325" y="161"/>
                      </a:cubicBezTo>
                      <a:lnTo>
                        <a:pt x="119" y="161"/>
                      </a:lnTo>
                      <a:lnTo>
                        <a:pt x="119" y="90"/>
                      </a:lnTo>
                      <a:lnTo>
                        <a:pt x="322" y="90"/>
                      </a:lnTo>
                      <a:cubicBezTo>
                        <a:pt x="344" y="90"/>
                        <a:pt x="350" y="90"/>
                        <a:pt x="358" y="93"/>
                      </a:cubicBezTo>
                      <a:cubicBezTo>
                        <a:pt x="370" y="99"/>
                        <a:pt x="378" y="110"/>
                        <a:pt x="378" y="127"/>
                      </a:cubicBezTo>
                      <a:cubicBezTo>
                        <a:pt x="378" y="141"/>
                        <a:pt x="373" y="153"/>
                        <a:pt x="364" y="155"/>
                      </a:cubicBezTo>
                      <a:close/>
                      <a:moveTo>
                        <a:pt x="491" y="220"/>
                      </a:moveTo>
                      <a:cubicBezTo>
                        <a:pt x="477" y="209"/>
                        <a:pt x="460" y="203"/>
                        <a:pt x="423" y="201"/>
                      </a:cubicBezTo>
                      <a:cubicBezTo>
                        <a:pt x="452" y="195"/>
                        <a:pt x="466" y="192"/>
                        <a:pt x="477" y="181"/>
                      </a:cubicBezTo>
                      <a:cubicBezTo>
                        <a:pt x="494" y="167"/>
                        <a:pt x="502" y="141"/>
                        <a:pt x="502" y="107"/>
                      </a:cubicBezTo>
                      <a:cubicBezTo>
                        <a:pt x="502" y="62"/>
                        <a:pt x="488" y="34"/>
                        <a:pt x="460" y="17"/>
                      </a:cubicBezTo>
                      <a:cubicBezTo>
                        <a:pt x="440" y="6"/>
                        <a:pt x="412" y="0"/>
                        <a:pt x="364" y="0"/>
                      </a:cubicBezTo>
                      <a:lnTo>
                        <a:pt x="0" y="0"/>
                      </a:lnTo>
                      <a:lnTo>
                        <a:pt x="0" y="404"/>
                      </a:lnTo>
                      <a:lnTo>
                        <a:pt x="381" y="404"/>
                      </a:lnTo>
                      <a:cubicBezTo>
                        <a:pt x="426" y="404"/>
                        <a:pt x="452" y="401"/>
                        <a:pt x="471" y="390"/>
                      </a:cubicBezTo>
                      <a:cubicBezTo>
                        <a:pt x="500" y="375"/>
                        <a:pt x="516" y="342"/>
                        <a:pt x="516" y="294"/>
                      </a:cubicBezTo>
                      <a:cubicBezTo>
                        <a:pt x="516" y="257"/>
                        <a:pt x="508" y="234"/>
                        <a:pt x="491" y="22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9" name="Freeform 48"/>
                <p:cNvSpPr>
                  <a:spLocks noChangeArrowheads="1"/>
                </p:cNvSpPr>
                <p:nvPr/>
              </p:nvSpPr>
              <p:spPr bwMode="auto">
                <a:xfrm>
                  <a:off x="4375150" y="5443538"/>
                  <a:ext cx="220663" cy="146050"/>
                </a:xfrm>
                <a:custGeom>
                  <a:avLst/>
                  <a:gdLst>
                    <a:gd name="T0" fmla="*/ 392 w 611"/>
                    <a:gd name="T1" fmla="*/ 248 h 405"/>
                    <a:gd name="T2" fmla="*/ 220 w 611"/>
                    <a:gd name="T3" fmla="*/ 248 h 405"/>
                    <a:gd name="T4" fmla="*/ 305 w 611"/>
                    <a:gd name="T5" fmla="*/ 88 h 405"/>
                    <a:gd name="T6" fmla="*/ 392 w 611"/>
                    <a:gd name="T7" fmla="*/ 248 h 405"/>
                    <a:gd name="T8" fmla="*/ 610 w 611"/>
                    <a:gd name="T9" fmla="*/ 404 h 405"/>
                    <a:gd name="T10" fmla="*/ 390 w 611"/>
                    <a:gd name="T11" fmla="*/ 0 h 405"/>
                    <a:gd name="T12" fmla="*/ 226 w 611"/>
                    <a:gd name="T13" fmla="*/ 0 h 405"/>
                    <a:gd name="T14" fmla="*/ 0 w 611"/>
                    <a:gd name="T15" fmla="*/ 404 h 405"/>
                    <a:gd name="T16" fmla="*/ 138 w 611"/>
                    <a:gd name="T17" fmla="*/ 404 h 405"/>
                    <a:gd name="T18" fmla="*/ 178 w 611"/>
                    <a:gd name="T19" fmla="*/ 333 h 405"/>
                    <a:gd name="T20" fmla="*/ 437 w 611"/>
                    <a:gd name="T21" fmla="*/ 333 h 405"/>
                    <a:gd name="T22" fmla="*/ 477 w 611"/>
                    <a:gd name="T23" fmla="*/ 404 h 405"/>
                    <a:gd name="T24" fmla="*/ 610 w 611"/>
                    <a:gd name="T25" fmla="*/ 404 h 4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611" h="405">
                      <a:moveTo>
                        <a:pt x="392" y="248"/>
                      </a:moveTo>
                      <a:lnTo>
                        <a:pt x="220" y="248"/>
                      </a:lnTo>
                      <a:lnTo>
                        <a:pt x="305" y="88"/>
                      </a:lnTo>
                      <a:lnTo>
                        <a:pt x="392" y="248"/>
                      </a:lnTo>
                      <a:close/>
                      <a:moveTo>
                        <a:pt x="610" y="404"/>
                      </a:moveTo>
                      <a:lnTo>
                        <a:pt x="390" y="0"/>
                      </a:lnTo>
                      <a:lnTo>
                        <a:pt x="226" y="0"/>
                      </a:lnTo>
                      <a:lnTo>
                        <a:pt x="0" y="404"/>
                      </a:lnTo>
                      <a:lnTo>
                        <a:pt x="138" y="404"/>
                      </a:lnTo>
                      <a:lnTo>
                        <a:pt x="178" y="333"/>
                      </a:lnTo>
                      <a:lnTo>
                        <a:pt x="437" y="333"/>
                      </a:lnTo>
                      <a:lnTo>
                        <a:pt x="477" y="404"/>
                      </a:lnTo>
                      <a:lnTo>
                        <a:pt x="610" y="40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0" name="Freeform 49"/>
                <p:cNvSpPr>
                  <a:spLocks noChangeArrowheads="1"/>
                </p:cNvSpPr>
                <p:nvPr/>
              </p:nvSpPr>
              <p:spPr bwMode="auto">
                <a:xfrm>
                  <a:off x="4614863" y="5443538"/>
                  <a:ext cx="200025" cy="146050"/>
                </a:xfrm>
                <a:custGeom>
                  <a:avLst/>
                  <a:gdLst>
                    <a:gd name="T0" fmla="*/ 553 w 554"/>
                    <a:gd name="T1" fmla="*/ 404 h 405"/>
                    <a:gd name="T2" fmla="*/ 553 w 554"/>
                    <a:gd name="T3" fmla="*/ 0 h 405"/>
                    <a:gd name="T4" fmla="*/ 437 w 554"/>
                    <a:gd name="T5" fmla="*/ 0 h 405"/>
                    <a:gd name="T6" fmla="*/ 440 w 554"/>
                    <a:gd name="T7" fmla="*/ 308 h 405"/>
                    <a:gd name="T8" fmla="*/ 195 w 554"/>
                    <a:gd name="T9" fmla="*/ 0 h 405"/>
                    <a:gd name="T10" fmla="*/ 0 w 554"/>
                    <a:gd name="T11" fmla="*/ 0 h 405"/>
                    <a:gd name="T12" fmla="*/ 0 w 554"/>
                    <a:gd name="T13" fmla="*/ 404 h 405"/>
                    <a:gd name="T14" fmla="*/ 119 w 554"/>
                    <a:gd name="T15" fmla="*/ 404 h 405"/>
                    <a:gd name="T16" fmla="*/ 116 w 554"/>
                    <a:gd name="T17" fmla="*/ 102 h 405"/>
                    <a:gd name="T18" fmla="*/ 356 w 554"/>
                    <a:gd name="T19" fmla="*/ 404 h 405"/>
                    <a:gd name="T20" fmla="*/ 553 w 554"/>
                    <a:gd name="T21" fmla="*/ 404 h 4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54" h="405">
                      <a:moveTo>
                        <a:pt x="553" y="404"/>
                      </a:moveTo>
                      <a:lnTo>
                        <a:pt x="553" y="0"/>
                      </a:lnTo>
                      <a:lnTo>
                        <a:pt x="437" y="0"/>
                      </a:lnTo>
                      <a:lnTo>
                        <a:pt x="440" y="308"/>
                      </a:lnTo>
                      <a:lnTo>
                        <a:pt x="195" y="0"/>
                      </a:lnTo>
                      <a:lnTo>
                        <a:pt x="0" y="0"/>
                      </a:lnTo>
                      <a:lnTo>
                        <a:pt x="0" y="404"/>
                      </a:lnTo>
                      <a:lnTo>
                        <a:pt x="119" y="404"/>
                      </a:lnTo>
                      <a:lnTo>
                        <a:pt x="116" y="102"/>
                      </a:lnTo>
                      <a:lnTo>
                        <a:pt x="356" y="404"/>
                      </a:lnTo>
                      <a:lnTo>
                        <a:pt x="553" y="404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1" name="Freeform 50"/>
                <p:cNvSpPr>
                  <a:spLocks noChangeArrowheads="1"/>
                </p:cNvSpPr>
                <p:nvPr/>
              </p:nvSpPr>
              <p:spPr bwMode="auto">
                <a:xfrm>
                  <a:off x="4849813" y="5443538"/>
                  <a:ext cx="184150" cy="147637"/>
                </a:xfrm>
                <a:custGeom>
                  <a:avLst/>
                  <a:gdLst>
                    <a:gd name="T0" fmla="*/ 511 w 512"/>
                    <a:gd name="T1" fmla="*/ 254 h 408"/>
                    <a:gd name="T2" fmla="*/ 392 w 512"/>
                    <a:gd name="T3" fmla="*/ 254 h 408"/>
                    <a:gd name="T4" fmla="*/ 370 w 512"/>
                    <a:gd name="T5" fmla="*/ 302 h 408"/>
                    <a:gd name="T6" fmla="*/ 243 w 512"/>
                    <a:gd name="T7" fmla="*/ 311 h 408"/>
                    <a:gd name="T8" fmla="*/ 118 w 512"/>
                    <a:gd name="T9" fmla="*/ 209 h 408"/>
                    <a:gd name="T10" fmla="*/ 121 w 512"/>
                    <a:gd name="T11" fmla="*/ 153 h 408"/>
                    <a:gd name="T12" fmla="*/ 169 w 512"/>
                    <a:gd name="T13" fmla="*/ 99 h 408"/>
                    <a:gd name="T14" fmla="*/ 274 w 512"/>
                    <a:gd name="T15" fmla="*/ 96 h 408"/>
                    <a:gd name="T16" fmla="*/ 389 w 512"/>
                    <a:gd name="T17" fmla="*/ 144 h 408"/>
                    <a:gd name="T18" fmla="*/ 508 w 512"/>
                    <a:gd name="T19" fmla="*/ 144 h 408"/>
                    <a:gd name="T20" fmla="*/ 508 w 512"/>
                    <a:gd name="T21" fmla="*/ 130 h 408"/>
                    <a:gd name="T22" fmla="*/ 440 w 512"/>
                    <a:gd name="T23" fmla="*/ 12 h 408"/>
                    <a:gd name="T24" fmla="*/ 243 w 512"/>
                    <a:gd name="T25" fmla="*/ 0 h 408"/>
                    <a:gd name="T26" fmla="*/ 54 w 512"/>
                    <a:gd name="T27" fmla="*/ 26 h 408"/>
                    <a:gd name="T28" fmla="*/ 0 w 512"/>
                    <a:gd name="T29" fmla="*/ 195 h 408"/>
                    <a:gd name="T30" fmla="*/ 51 w 512"/>
                    <a:gd name="T31" fmla="*/ 381 h 408"/>
                    <a:gd name="T32" fmla="*/ 234 w 512"/>
                    <a:gd name="T33" fmla="*/ 407 h 408"/>
                    <a:gd name="T34" fmla="*/ 477 w 512"/>
                    <a:gd name="T35" fmla="*/ 378 h 408"/>
                    <a:gd name="T36" fmla="*/ 511 w 512"/>
                    <a:gd name="T37" fmla="*/ 274 h 408"/>
                    <a:gd name="T38" fmla="*/ 511 w 512"/>
                    <a:gd name="T39" fmla="*/ 254 h 4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12" h="408">
                      <a:moveTo>
                        <a:pt x="511" y="254"/>
                      </a:moveTo>
                      <a:lnTo>
                        <a:pt x="392" y="254"/>
                      </a:lnTo>
                      <a:cubicBezTo>
                        <a:pt x="392" y="283"/>
                        <a:pt x="387" y="294"/>
                        <a:pt x="370" y="302"/>
                      </a:cubicBezTo>
                      <a:cubicBezTo>
                        <a:pt x="353" y="311"/>
                        <a:pt x="341" y="311"/>
                        <a:pt x="243" y="311"/>
                      </a:cubicBezTo>
                      <a:cubicBezTo>
                        <a:pt x="130" y="311"/>
                        <a:pt x="118" y="302"/>
                        <a:pt x="118" y="209"/>
                      </a:cubicBezTo>
                      <a:cubicBezTo>
                        <a:pt x="118" y="187"/>
                        <a:pt x="118" y="161"/>
                        <a:pt x="121" y="153"/>
                      </a:cubicBezTo>
                      <a:cubicBezTo>
                        <a:pt x="124" y="119"/>
                        <a:pt x="138" y="105"/>
                        <a:pt x="169" y="99"/>
                      </a:cubicBezTo>
                      <a:cubicBezTo>
                        <a:pt x="178" y="99"/>
                        <a:pt x="223" y="96"/>
                        <a:pt x="274" y="96"/>
                      </a:cubicBezTo>
                      <a:cubicBezTo>
                        <a:pt x="375" y="96"/>
                        <a:pt x="387" y="99"/>
                        <a:pt x="389" y="144"/>
                      </a:cubicBezTo>
                      <a:lnTo>
                        <a:pt x="508" y="144"/>
                      </a:lnTo>
                      <a:lnTo>
                        <a:pt x="508" y="130"/>
                      </a:lnTo>
                      <a:cubicBezTo>
                        <a:pt x="508" y="62"/>
                        <a:pt x="488" y="29"/>
                        <a:pt x="440" y="12"/>
                      </a:cubicBezTo>
                      <a:cubicBezTo>
                        <a:pt x="412" y="3"/>
                        <a:pt x="370" y="0"/>
                        <a:pt x="243" y="0"/>
                      </a:cubicBezTo>
                      <a:cubicBezTo>
                        <a:pt x="130" y="0"/>
                        <a:pt x="90" y="6"/>
                        <a:pt x="54" y="26"/>
                      </a:cubicBezTo>
                      <a:cubicBezTo>
                        <a:pt x="11" y="51"/>
                        <a:pt x="0" y="88"/>
                        <a:pt x="0" y="195"/>
                      </a:cubicBezTo>
                      <a:cubicBezTo>
                        <a:pt x="0" y="314"/>
                        <a:pt x="11" y="356"/>
                        <a:pt x="51" y="381"/>
                      </a:cubicBezTo>
                      <a:cubicBezTo>
                        <a:pt x="85" y="401"/>
                        <a:pt x="121" y="407"/>
                        <a:pt x="234" y="407"/>
                      </a:cubicBezTo>
                      <a:cubicBezTo>
                        <a:pt x="415" y="407"/>
                        <a:pt x="443" y="404"/>
                        <a:pt x="477" y="378"/>
                      </a:cubicBezTo>
                      <a:cubicBezTo>
                        <a:pt x="502" y="364"/>
                        <a:pt x="511" y="333"/>
                        <a:pt x="511" y="274"/>
                      </a:cubicBezTo>
                      <a:lnTo>
                        <a:pt x="511" y="254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2" name="Freeform 51"/>
                <p:cNvSpPr>
                  <a:spLocks noChangeArrowheads="1"/>
                </p:cNvSpPr>
                <p:nvPr/>
              </p:nvSpPr>
              <p:spPr bwMode="auto">
                <a:xfrm>
                  <a:off x="5067300" y="5443538"/>
                  <a:ext cx="44450" cy="146050"/>
                </a:xfrm>
                <a:custGeom>
                  <a:avLst/>
                  <a:gdLst>
                    <a:gd name="T0" fmla="*/ 60 w 122"/>
                    <a:gd name="T1" fmla="*/ 404 h 405"/>
                    <a:gd name="T2" fmla="*/ 0 w 122"/>
                    <a:gd name="T3" fmla="*/ 404 h 405"/>
                    <a:gd name="T4" fmla="*/ 0 w 122"/>
                    <a:gd name="T5" fmla="*/ 0 h 405"/>
                    <a:gd name="T6" fmla="*/ 121 w 122"/>
                    <a:gd name="T7" fmla="*/ 0 h 405"/>
                    <a:gd name="T8" fmla="*/ 121 w 122"/>
                    <a:gd name="T9" fmla="*/ 404 h 405"/>
                    <a:gd name="T10" fmla="*/ 60 w 122"/>
                    <a:gd name="T11" fmla="*/ 404 h 4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2" h="405">
                      <a:moveTo>
                        <a:pt x="60" y="404"/>
                      </a:moveTo>
                      <a:lnTo>
                        <a:pt x="0" y="404"/>
                      </a:lnTo>
                      <a:lnTo>
                        <a:pt x="0" y="0"/>
                      </a:lnTo>
                      <a:lnTo>
                        <a:pt x="121" y="0"/>
                      </a:lnTo>
                      <a:lnTo>
                        <a:pt x="121" y="404"/>
                      </a:lnTo>
                      <a:lnTo>
                        <a:pt x="60" y="404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53" name="Freeform 52"/>
                <p:cNvSpPr>
                  <a:spLocks noChangeArrowheads="1"/>
                </p:cNvSpPr>
                <p:nvPr/>
              </p:nvSpPr>
              <p:spPr bwMode="auto">
                <a:xfrm>
                  <a:off x="3573463" y="5372100"/>
                  <a:ext cx="566737" cy="290513"/>
                </a:xfrm>
                <a:custGeom>
                  <a:avLst/>
                  <a:gdLst>
                    <a:gd name="T0" fmla="*/ 1167 w 1574"/>
                    <a:gd name="T1" fmla="*/ 288 h 808"/>
                    <a:gd name="T2" fmla="*/ 1082 w 1574"/>
                    <a:gd name="T3" fmla="*/ 448 h 808"/>
                    <a:gd name="T4" fmla="*/ 1254 w 1574"/>
                    <a:gd name="T5" fmla="*/ 448 h 808"/>
                    <a:gd name="T6" fmla="*/ 1167 w 1574"/>
                    <a:gd name="T7" fmla="*/ 288 h 808"/>
                    <a:gd name="T8" fmla="*/ 1472 w 1574"/>
                    <a:gd name="T9" fmla="*/ 604 h 808"/>
                    <a:gd name="T10" fmla="*/ 1252 w 1574"/>
                    <a:gd name="T11" fmla="*/ 200 h 808"/>
                    <a:gd name="T12" fmla="*/ 1088 w 1574"/>
                    <a:gd name="T13" fmla="*/ 200 h 808"/>
                    <a:gd name="T14" fmla="*/ 862 w 1574"/>
                    <a:gd name="T15" fmla="*/ 604 h 808"/>
                    <a:gd name="T16" fmla="*/ 1000 w 1574"/>
                    <a:gd name="T17" fmla="*/ 604 h 808"/>
                    <a:gd name="T18" fmla="*/ 1040 w 1574"/>
                    <a:gd name="T19" fmla="*/ 533 h 808"/>
                    <a:gd name="T20" fmla="*/ 1299 w 1574"/>
                    <a:gd name="T21" fmla="*/ 533 h 808"/>
                    <a:gd name="T22" fmla="*/ 1339 w 1574"/>
                    <a:gd name="T23" fmla="*/ 604 h 808"/>
                    <a:gd name="T24" fmla="*/ 1472 w 1574"/>
                    <a:gd name="T25" fmla="*/ 604 h 808"/>
                    <a:gd name="T26" fmla="*/ 628 w 1574"/>
                    <a:gd name="T27" fmla="*/ 389 h 808"/>
                    <a:gd name="T28" fmla="*/ 524 w 1574"/>
                    <a:gd name="T29" fmla="*/ 358 h 808"/>
                    <a:gd name="T30" fmla="*/ 460 w 1574"/>
                    <a:gd name="T31" fmla="*/ 355 h 808"/>
                    <a:gd name="T32" fmla="*/ 347 w 1574"/>
                    <a:gd name="T33" fmla="*/ 355 h 808"/>
                    <a:gd name="T34" fmla="*/ 299 w 1574"/>
                    <a:gd name="T35" fmla="*/ 353 h 808"/>
                    <a:gd name="T36" fmla="*/ 270 w 1574"/>
                    <a:gd name="T37" fmla="*/ 319 h 808"/>
                    <a:gd name="T38" fmla="*/ 313 w 1574"/>
                    <a:gd name="T39" fmla="*/ 285 h 808"/>
                    <a:gd name="T40" fmla="*/ 423 w 1574"/>
                    <a:gd name="T41" fmla="*/ 282 h 808"/>
                    <a:gd name="T42" fmla="*/ 516 w 1574"/>
                    <a:gd name="T43" fmla="*/ 321 h 808"/>
                    <a:gd name="T44" fmla="*/ 633 w 1574"/>
                    <a:gd name="T45" fmla="*/ 321 h 808"/>
                    <a:gd name="T46" fmla="*/ 580 w 1574"/>
                    <a:gd name="T47" fmla="*/ 209 h 808"/>
                    <a:gd name="T48" fmla="*/ 400 w 1574"/>
                    <a:gd name="T49" fmla="*/ 194 h 808"/>
                    <a:gd name="T50" fmla="*/ 248 w 1574"/>
                    <a:gd name="T51" fmla="*/ 200 h 808"/>
                    <a:gd name="T52" fmla="*/ 146 w 1574"/>
                    <a:gd name="T53" fmla="*/ 321 h 808"/>
                    <a:gd name="T54" fmla="*/ 206 w 1574"/>
                    <a:gd name="T55" fmla="*/ 432 h 808"/>
                    <a:gd name="T56" fmla="*/ 321 w 1574"/>
                    <a:gd name="T57" fmla="*/ 443 h 808"/>
                    <a:gd name="T58" fmla="*/ 431 w 1574"/>
                    <a:gd name="T59" fmla="*/ 443 h 808"/>
                    <a:gd name="T60" fmla="*/ 491 w 1574"/>
                    <a:gd name="T61" fmla="*/ 443 h 808"/>
                    <a:gd name="T62" fmla="*/ 527 w 1574"/>
                    <a:gd name="T63" fmla="*/ 477 h 808"/>
                    <a:gd name="T64" fmla="*/ 366 w 1574"/>
                    <a:gd name="T65" fmla="*/ 516 h 808"/>
                    <a:gd name="T66" fmla="*/ 290 w 1574"/>
                    <a:gd name="T67" fmla="*/ 513 h 808"/>
                    <a:gd name="T68" fmla="*/ 268 w 1574"/>
                    <a:gd name="T69" fmla="*/ 471 h 808"/>
                    <a:gd name="T70" fmla="*/ 146 w 1574"/>
                    <a:gd name="T71" fmla="*/ 471 h 808"/>
                    <a:gd name="T72" fmla="*/ 146 w 1574"/>
                    <a:gd name="T73" fmla="*/ 494 h 808"/>
                    <a:gd name="T74" fmla="*/ 211 w 1574"/>
                    <a:gd name="T75" fmla="*/ 592 h 808"/>
                    <a:gd name="T76" fmla="*/ 372 w 1574"/>
                    <a:gd name="T77" fmla="*/ 604 h 808"/>
                    <a:gd name="T78" fmla="*/ 541 w 1574"/>
                    <a:gd name="T79" fmla="*/ 598 h 808"/>
                    <a:gd name="T80" fmla="*/ 653 w 1574"/>
                    <a:gd name="T81" fmla="*/ 480 h 808"/>
                    <a:gd name="T82" fmla="*/ 628 w 1574"/>
                    <a:gd name="T83" fmla="*/ 389 h 808"/>
                    <a:gd name="T84" fmla="*/ 403 w 1574"/>
                    <a:gd name="T85" fmla="*/ 0 h 808"/>
                    <a:gd name="T86" fmla="*/ 786 w 1574"/>
                    <a:gd name="T87" fmla="*/ 276 h 808"/>
                    <a:gd name="T88" fmla="*/ 1170 w 1574"/>
                    <a:gd name="T89" fmla="*/ 0 h 808"/>
                    <a:gd name="T90" fmla="*/ 1573 w 1574"/>
                    <a:gd name="T91" fmla="*/ 403 h 808"/>
                    <a:gd name="T92" fmla="*/ 1170 w 1574"/>
                    <a:gd name="T93" fmla="*/ 807 h 808"/>
                    <a:gd name="T94" fmla="*/ 786 w 1574"/>
                    <a:gd name="T95" fmla="*/ 530 h 808"/>
                    <a:gd name="T96" fmla="*/ 403 w 1574"/>
                    <a:gd name="T97" fmla="*/ 807 h 808"/>
                    <a:gd name="T98" fmla="*/ 0 w 1574"/>
                    <a:gd name="T99" fmla="*/ 403 h 808"/>
                    <a:gd name="T100" fmla="*/ 403 w 1574"/>
                    <a:gd name="T101" fmla="*/ 0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574" h="808">
                      <a:moveTo>
                        <a:pt x="1167" y="288"/>
                      </a:moveTo>
                      <a:lnTo>
                        <a:pt x="1082" y="448"/>
                      </a:lnTo>
                      <a:lnTo>
                        <a:pt x="1254" y="448"/>
                      </a:lnTo>
                      <a:lnTo>
                        <a:pt x="1167" y="288"/>
                      </a:lnTo>
                      <a:close/>
                      <a:moveTo>
                        <a:pt x="1472" y="604"/>
                      </a:moveTo>
                      <a:lnTo>
                        <a:pt x="1252" y="200"/>
                      </a:lnTo>
                      <a:lnTo>
                        <a:pt x="1088" y="200"/>
                      </a:lnTo>
                      <a:lnTo>
                        <a:pt x="862" y="604"/>
                      </a:lnTo>
                      <a:lnTo>
                        <a:pt x="1000" y="604"/>
                      </a:lnTo>
                      <a:lnTo>
                        <a:pt x="1040" y="533"/>
                      </a:lnTo>
                      <a:lnTo>
                        <a:pt x="1299" y="533"/>
                      </a:lnTo>
                      <a:lnTo>
                        <a:pt x="1339" y="604"/>
                      </a:lnTo>
                      <a:lnTo>
                        <a:pt x="1472" y="604"/>
                      </a:lnTo>
                      <a:close/>
                      <a:moveTo>
                        <a:pt x="628" y="389"/>
                      </a:moveTo>
                      <a:cubicBezTo>
                        <a:pt x="608" y="367"/>
                        <a:pt x="586" y="361"/>
                        <a:pt x="524" y="358"/>
                      </a:cubicBezTo>
                      <a:cubicBezTo>
                        <a:pt x="491" y="358"/>
                        <a:pt x="468" y="355"/>
                        <a:pt x="460" y="355"/>
                      </a:cubicBezTo>
                      <a:lnTo>
                        <a:pt x="347" y="355"/>
                      </a:lnTo>
                      <a:cubicBezTo>
                        <a:pt x="307" y="355"/>
                        <a:pt x="304" y="355"/>
                        <a:pt x="299" y="353"/>
                      </a:cubicBezTo>
                      <a:cubicBezTo>
                        <a:pt x="282" y="347"/>
                        <a:pt x="270" y="338"/>
                        <a:pt x="270" y="319"/>
                      </a:cubicBezTo>
                      <a:cubicBezTo>
                        <a:pt x="270" y="296"/>
                        <a:pt x="282" y="288"/>
                        <a:pt x="313" y="285"/>
                      </a:cubicBezTo>
                      <a:cubicBezTo>
                        <a:pt x="333" y="285"/>
                        <a:pt x="386" y="282"/>
                        <a:pt x="423" y="282"/>
                      </a:cubicBezTo>
                      <a:cubicBezTo>
                        <a:pt x="505" y="282"/>
                        <a:pt x="516" y="288"/>
                        <a:pt x="516" y="321"/>
                      </a:cubicBezTo>
                      <a:lnTo>
                        <a:pt x="633" y="321"/>
                      </a:lnTo>
                      <a:cubicBezTo>
                        <a:pt x="633" y="251"/>
                        <a:pt x="619" y="226"/>
                        <a:pt x="580" y="209"/>
                      </a:cubicBezTo>
                      <a:cubicBezTo>
                        <a:pt x="550" y="197"/>
                        <a:pt x="519" y="194"/>
                        <a:pt x="400" y="194"/>
                      </a:cubicBezTo>
                      <a:cubicBezTo>
                        <a:pt x="321" y="194"/>
                        <a:pt x="287" y="194"/>
                        <a:pt x="248" y="200"/>
                      </a:cubicBezTo>
                      <a:cubicBezTo>
                        <a:pt x="172" y="209"/>
                        <a:pt x="146" y="242"/>
                        <a:pt x="146" y="321"/>
                      </a:cubicBezTo>
                      <a:cubicBezTo>
                        <a:pt x="146" y="386"/>
                        <a:pt x="163" y="415"/>
                        <a:pt x="206" y="432"/>
                      </a:cubicBezTo>
                      <a:cubicBezTo>
                        <a:pt x="225" y="440"/>
                        <a:pt x="262" y="443"/>
                        <a:pt x="321" y="443"/>
                      </a:cubicBezTo>
                      <a:lnTo>
                        <a:pt x="431" y="443"/>
                      </a:lnTo>
                      <a:lnTo>
                        <a:pt x="491" y="443"/>
                      </a:lnTo>
                      <a:cubicBezTo>
                        <a:pt x="516" y="446"/>
                        <a:pt x="527" y="457"/>
                        <a:pt x="527" y="477"/>
                      </a:cubicBezTo>
                      <a:cubicBezTo>
                        <a:pt x="527" y="513"/>
                        <a:pt x="513" y="516"/>
                        <a:pt x="366" y="516"/>
                      </a:cubicBezTo>
                      <a:cubicBezTo>
                        <a:pt x="335" y="516"/>
                        <a:pt x="302" y="513"/>
                        <a:pt x="290" y="513"/>
                      </a:cubicBezTo>
                      <a:cubicBezTo>
                        <a:pt x="273" y="511"/>
                        <a:pt x="268" y="502"/>
                        <a:pt x="268" y="471"/>
                      </a:cubicBezTo>
                      <a:lnTo>
                        <a:pt x="146" y="471"/>
                      </a:lnTo>
                      <a:lnTo>
                        <a:pt x="146" y="494"/>
                      </a:lnTo>
                      <a:cubicBezTo>
                        <a:pt x="146" y="550"/>
                        <a:pt x="166" y="581"/>
                        <a:pt x="211" y="592"/>
                      </a:cubicBezTo>
                      <a:cubicBezTo>
                        <a:pt x="239" y="601"/>
                        <a:pt x="282" y="604"/>
                        <a:pt x="372" y="604"/>
                      </a:cubicBezTo>
                      <a:cubicBezTo>
                        <a:pt x="460" y="604"/>
                        <a:pt x="493" y="604"/>
                        <a:pt x="541" y="598"/>
                      </a:cubicBezTo>
                      <a:cubicBezTo>
                        <a:pt x="622" y="592"/>
                        <a:pt x="653" y="561"/>
                        <a:pt x="653" y="480"/>
                      </a:cubicBezTo>
                      <a:cubicBezTo>
                        <a:pt x="653" y="437"/>
                        <a:pt x="645" y="406"/>
                        <a:pt x="628" y="389"/>
                      </a:cubicBezTo>
                      <a:close/>
                      <a:moveTo>
                        <a:pt x="403" y="0"/>
                      </a:moveTo>
                      <a:cubicBezTo>
                        <a:pt x="580" y="0"/>
                        <a:pt x="732" y="115"/>
                        <a:pt x="786" y="276"/>
                      </a:cubicBezTo>
                      <a:cubicBezTo>
                        <a:pt x="839" y="115"/>
                        <a:pt x="989" y="0"/>
                        <a:pt x="1170" y="0"/>
                      </a:cubicBezTo>
                      <a:cubicBezTo>
                        <a:pt x="1393" y="0"/>
                        <a:pt x="1573" y="180"/>
                        <a:pt x="1573" y="403"/>
                      </a:cubicBezTo>
                      <a:cubicBezTo>
                        <a:pt x="1573" y="626"/>
                        <a:pt x="1393" y="807"/>
                        <a:pt x="1170" y="807"/>
                      </a:cubicBezTo>
                      <a:cubicBezTo>
                        <a:pt x="992" y="807"/>
                        <a:pt x="839" y="691"/>
                        <a:pt x="786" y="530"/>
                      </a:cubicBezTo>
                      <a:cubicBezTo>
                        <a:pt x="732" y="691"/>
                        <a:pt x="583" y="807"/>
                        <a:pt x="403" y="807"/>
                      </a:cubicBezTo>
                      <a:cubicBezTo>
                        <a:pt x="177" y="807"/>
                        <a:pt x="0" y="626"/>
                        <a:pt x="0" y="403"/>
                      </a:cubicBezTo>
                      <a:cubicBezTo>
                        <a:pt x="0" y="180"/>
                        <a:pt x="180" y="0"/>
                        <a:pt x="403" y="0"/>
                      </a:cubicBezTo>
                      <a:close/>
                    </a:path>
                  </a:pathLst>
                </a:custGeom>
                <a:solidFill>
                  <a:srgbClr val="004A9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3" name="Group 42"/>
              <p:cNvGrpSpPr/>
              <p:nvPr userDrawn="1"/>
            </p:nvGrpSpPr>
            <p:grpSpPr>
              <a:xfrm>
                <a:off x="2780636" y="5451197"/>
                <a:ext cx="1851532" cy="542997"/>
                <a:chOff x="2224088" y="5346700"/>
                <a:chExt cx="990600" cy="290513"/>
              </a:xfrm>
            </p:grpSpPr>
            <p:sp>
              <p:nvSpPr>
                <p:cNvPr id="44" name="Freeform 17"/>
                <p:cNvSpPr>
                  <a:spLocks noChangeArrowheads="1"/>
                </p:cNvSpPr>
                <p:nvPr/>
              </p:nvSpPr>
              <p:spPr bwMode="auto">
                <a:xfrm>
                  <a:off x="2890838" y="5410200"/>
                  <a:ext cx="323850" cy="222250"/>
                </a:xfrm>
                <a:custGeom>
                  <a:avLst/>
                  <a:gdLst>
                    <a:gd name="T0" fmla="*/ 771 w 899"/>
                    <a:gd name="T1" fmla="*/ 582 h 619"/>
                    <a:gd name="T2" fmla="*/ 706 w 899"/>
                    <a:gd name="T3" fmla="*/ 618 h 619"/>
                    <a:gd name="T4" fmla="*/ 593 w 899"/>
                    <a:gd name="T5" fmla="*/ 590 h 619"/>
                    <a:gd name="T6" fmla="*/ 587 w 899"/>
                    <a:gd name="T7" fmla="*/ 570 h 619"/>
                    <a:gd name="T8" fmla="*/ 683 w 899"/>
                    <a:gd name="T9" fmla="*/ 249 h 619"/>
                    <a:gd name="T10" fmla="*/ 649 w 899"/>
                    <a:gd name="T11" fmla="*/ 203 h 619"/>
                    <a:gd name="T12" fmla="*/ 161 w 899"/>
                    <a:gd name="T13" fmla="*/ 590 h 619"/>
                    <a:gd name="T14" fmla="*/ 91 w 899"/>
                    <a:gd name="T15" fmla="*/ 613 h 619"/>
                    <a:gd name="T16" fmla="*/ 12 w 899"/>
                    <a:gd name="T17" fmla="*/ 593 h 619"/>
                    <a:gd name="T18" fmla="*/ 3 w 899"/>
                    <a:gd name="T19" fmla="*/ 567 h 619"/>
                    <a:gd name="T20" fmla="*/ 12 w 899"/>
                    <a:gd name="T21" fmla="*/ 528 h 619"/>
                    <a:gd name="T22" fmla="*/ 184 w 899"/>
                    <a:gd name="T23" fmla="*/ 48 h 619"/>
                    <a:gd name="T24" fmla="*/ 204 w 899"/>
                    <a:gd name="T25" fmla="*/ 34 h 619"/>
                    <a:gd name="T26" fmla="*/ 260 w 899"/>
                    <a:gd name="T27" fmla="*/ 28 h 619"/>
                    <a:gd name="T28" fmla="*/ 345 w 899"/>
                    <a:gd name="T29" fmla="*/ 43 h 619"/>
                    <a:gd name="T30" fmla="*/ 345 w 899"/>
                    <a:gd name="T31" fmla="*/ 76 h 619"/>
                    <a:gd name="T32" fmla="*/ 395 w 899"/>
                    <a:gd name="T33" fmla="*/ 144 h 619"/>
                    <a:gd name="T34" fmla="*/ 757 w 899"/>
                    <a:gd name="T35" fmla="*/ 3 h 619"/>
                    <a:gd name="T36" fmla="*/ 898 w 899"/>
                    <a:gd name="T37" fmla="*/ 127 h 619"/>
                    <a:gd name="T38" fmla="*/ 771 w 899"/>
                    <a:gd name="T39" fmla="*/ 582 h 6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899" h="619">
                      <a:moveTo>
                        <a:pt x="771" y="582"/>
                      </a:moveTo>
                      <a:cubicBezTo>
                        <a:pt x="759" y="613"/>
                        <a:pt x="737" y="618"/>
                        <a:pt x="706" y="618"/>
                      </a:cubicBezTo>
                      <a:cubicBezTo>
                        <a:pt x="652" y="618"/>
                        <a:pt x="613" y="604"/>
                        <a:pt x="593" y="590"/>
                      </a:cubicBezTo>
                      <a:cubicBezTo>
                        <a:pt x="590" y="587"/>
                        <a:pt x="585" y="579"/>
                        <a:pt x="587" y="570"/>
                      </a:cubicBezTo>
                      <a:cubicBezTo>
                        <a:pt x="607" y="511"/>
                        <a:pt x="683" y="297"/>
                        <a:pt x="683" y="249"/>
                      </a:cubicBezTo>
                      <a:cubicBezTo>
                        <a:pt x="683" y="223"/>
                        <a:pt x="675" y="203"/>
                        <a:pt x="649" y="203"/>
                      </a:cubicBezTo>
                      <a:cubicBezTo>
                        <a:pt x="497" y="203"/>
                        <a:pt x="215" y="531"/>
                        <a:pt x="161" y="590"/>
                      </a:cubicBezTo>
                      <a:cubicBezTo>
                        <a:pt x="144" y="610"/>
                        <a:pt x="119" y="613"/>
                        <a:pt x="91" y="613"/>
                      </a:cubicBezTo>
                      <a:cubicBezTo>
                        <a:pt x="54" y="613"/>
                        <a:pt x="14" y="593"/>
                        <a:pt x="12" y="593"/>
                      </a:cubicBezTo>
                      <a:cubicBezTo>
                        <a:pt x="0" y="587"/>
                        <a:pt x="0" y="582"/>
                        <a:pt x="3" y="567"/>
                      </a:cubicBezTo>
                      <a:lnTo>
                        <a:pt x="12" y="528"/>
                      </a:lnTo>
                      <a:cubicBezTo>
                        <a:pt x="29" y="457"/>
                        <a:pt x="122" y="192"/>
                        <a:pt x="184" y="48"/>
                      </a:cubicBezTo>
                      <a:cubicBezTo>
                        <a:pt x="187" y="43"/>
                        <a:pt x="189" y="37"/>
                        <a:pt x="204" y="34"/>
                      </a:cubicBezTo>
                      <a:cubicBezTo>
                        <a:pt x="209" y="34"/>
                        <a:pt x="232" y="28"/>
                        <a:pt x="260" y="28"/>
                      </a:cubicBezTo>
                      <a:cubicBezTo>
                        <a:pt x="283" y="28"/>
                        <a:pt x="322" y="31"/>
                        <a:pt x="345" y="43"/>
                      </a:cubicBezTo>
                      <a:lnTo>
                        <a:pt x="345" y="76"/>
                      </a:lnTo>
                      <a:cubicBezTo>
                        <a:pt x="345" y="90"/>
                        <a:pt x="347" y="144"/>
                        <a:pt x="395" y="144"/>
                      </a:cubicBezTo>
                      <a:cubicBezTo>
                        <a:pt x="477" y="144"/>
                        <a:pt x="624" y="3"/>
                        <a:pt x="757" y="3"/>
                      </a:cubicBezTo>
                      <a:cubicBezTo>
                        <a:pt x="872" y="0"/>
                        <a:pt x="898" y="71"/>
                        <a:pt x="898" y="127"/>
                      </a:cubicBezTo>
                      <a:cubicBezTo>
                        <a:pt x="898" y="220"/>
                        <a:pt x="788" y="536"/>
                        <a:pt x="771" y="582"/>
                      </a:cubicBezTo>
                    </a:path>
                  </a:pathLst>
                </a:custGeom>
                <a:solidFill>
                  <a:srgbClr val="E63323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5" name="Freeform 18"/>
                <p:cNvSpPr>
                  <a:spLocks noChangeArrowheads="1"/>
                </p:cNvSpPr>
                <p:nvPr/>
              </p:nvSpPr>
              <p:spPr bwMode="auto">
                <a:xfrm>
                  <a:off x="2552700" y="5478463"/>
                  <a:ext cx="74613" cy="68262"/>
                </a:xfrm>
                <a:custGeom>
                  <a:avLst/>
                  <a:gdLst>
                    <a:gd name="T0" fmla="*/ 183 w 209"/>
                    <a:gd name="T1" fmla="*/ 133 h 190"/>
                    <a:gd name="T2" fmla="*/ 73 w 209"/>
                    <a:gd name="T3" fmla="*/ 189 h 190"/>
                    <a:gd name="T4" fmla="*/ 0 w 209"/>
                    <a:gd name="T5" fmla="*/ 139 h 190"/>
                    <a:gd name="T6" fmla="*/ 22 w 209"/>
                    <a:gd name="T7" fmla="*/ 65 h 190"/>
                    <a:gd name="T8" fmla="*/ 135 w 209"/>
                    <a:gd name="T9" fmla="*/ 0 h 190"/>
                    <a:gd name="T10" fmla="*/ 208 w 209"/>
                    <a:gd name="T11" fmla="*/ 54 h 190"/>
                    <a:gd name="T12" fmla="*/ 183 w 209"/>
                    <a:gd name="T13" fmla="*/ 133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9" h="190">
                      <a:moveTo>
                        <a:pt x="183" y="133"/>
                      </a:moveTo>
                      <a:cubicBezTo>
                        <a:pt x="163" y="184"/>
                        <a:pt x="110" y="189"/>
                        <a:pt x="73" y="189"/>
                      </a:cubicBezTo>
                      <a:cubicBezTo>
                        <a:pt x="17" y="189"/>
                        <a:pt x="0" y="170"/>
                        <a:pt x="0" y="139"/>
                      </a:cubicBezTo>
                      <a:cubicBezTo>
                        <a:pt x="0" y="113"/>
                        <a:pt x="19" y="71"/>
                        <a:pt x="22" y="65"/>
                      </a:cubicBezTo>
                      <a:cubicBezTo>
                        <a:pt x="48" y="9"/>
                        <a:pt x="93" y="0"/>
                        <a:pt x="135" y="0"/>
                      </a:cubicBezTo>
                      <a:cubicBezTo>
                        <a:pt x="172" y="3"/>
                        <a:pt x="208" y="17"/>
                        <a:pt x="208" y="54"/>
                      </a:cubicBezTo>
                      <a:cubicBezTo>
                        <a:pt x="208" y="74"/>
                        <a:pt x="186" y="124"/>
                        <a:pt x="183" y="133"/>
                      </a:cubicBezTo>
                    </a:path>
                  </a:pathLst>
                </a:custGeom>
                <a:solidFill>
                  <a:srgbClr val="E63323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6" name="Freeform 19"/>
                <p:cNvSpPr>
                  <a:spLocks noChangeArrowheads="1"/>
                </p:cNvSpPr>
                <p:nvPr/>
              </p:nvSpPr>
              <p:spPr bwMode="auto">
                <a:xfrm>
                  <a:off x="2224088" y="5346700"/>
                  <a:ext cx="312737" cy="290513"/>
                </a:xfrm>
                <a:custGeom>
                  <a:avLst/>
                  <a:gdLst>
                    <a:gd name="T0" fmla="*/ 635 w 867"/>
                    <a:gd name="T1" fmla="*/ 531 h 808"/>
                    <a:gd name="T2" fmla="*/ 550 w 867"/>
                    <a:gd name="T3" fmla="*/ 531 h 808"/>
                    <a:gd name="T4" fmla="*/ 294 w 867"/>
                    <a:gd name="T5" fmla="*/ 525 h 808"/>
                    <a:gd name="T6" fmla="*/ 268 w 867"/>
                    <a:gd name="T7" fmla="*/ 531 h 808"/>
                    <a:gd name="T8" fmla="*/ 435 w 867"/>
                    <a:gd name="T9" fmla="*/ 678 h 808"/>
                    <a:gd name="T10" fmla="*/ 576 w 867"/>
                    <a:gd name="T11" fmla="*/ 615 h 808"/>
                    <a:gd name="T12" fmla="*/ 725 w 867"/>
                    <a:gd name="T13" fmla="*/ 604 h 808"/>
                    <a:gd name="T14" fmla="*/ 866 w 867"/>
                    <a:gd name="T15" fmla="*/ 646 h 808"/>
                    <a:gd name="T16" fmla="*/ 491 w 867"/>
                    <a:gd name="T17" fmla="*/ 807 h 808"/>
                    <a:gd name="T18" fmla="*/ 0 w 867"/>
                    <a:gd name="T19" fmla="*/ 497 h 808"/>
                    <a:gd name="T20" fmla="*/ 706 w 867"/>
                    <a:gd name="T21" fmla="*/ 0 h 808"/>
                    <a:gd name="T22" fmla="*/ 866 w 867"/>
                    <a:gd name="T23" fmla="*/ 316 h 808"/>
                    <a:gd name="T24" fmla="*/ 635 w 867"/>
                    <a:gd name="T25" fmla="*/ 531 h 808"/>
                    <a:gd name="T26" fmla="*/ 613 w 867"/>
                    <a:gd name="T27" fmla="*/ 209 h 808"/>
                    <a:gd name="T28" fmla="*/ 342 w 867"/>
                    <a:gd name="T29" fmla="*/ 367 h 808"/>
                    <a:gd name="T30" fmla="*/ 356 w 867"/>
                    <a:gd name="T31" fmla="*/ 378 h 808"/>
                    <a:gd name="T32" fmla="*/ 565 w 867"/>
                    <a:gd name="T33" fmla="*/ 378 h 808"/>
                    <a:gd name="T34" fmla="*/ 644 w 867"/>
                    <a:gd name="T35" fmla="*/ 297 h 808"/>
                    <a:gd name="T36" fmla="*/ 613 w 867"/>
                    <a:gd name="T37" fmla="*/ 209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867" h="808">
                      <a:moveTo>
                        <a:pt x="635" y="531"/>
                      </a:moveTo>
                      <a:lnTo>
                        <a:pt x="550" y="531"/>
                      </a:lnTo>
                      <a:cubicBezTo>
                        <a:pt x="466" y="531"/>
                        <a:pt x="294" y="525"/>
                        <a:pt x="294" y="525"/>
                      </a:cubicBezTo>
                      <a:cubicBezTo>
                        <a:pt x="280" y="525"/>
                        <a:pt x="268" y="522"/>
                        <a:pt x="268" y="531"/>
                      </a:cubicBezTo>
                      <a:cubicBezTo>
                        <a:pt x="268" y="590"/>
                        <a:pt x="333" y="678"/>
                        <a:pt x="435" y="678"/>
                      </a:cubicBezTo>
                      <a:cubicBezTo>
                        <a:pt x="514" y="678"/>
                        <a:pt x="565" y="630"/>
                        <a:pt x="576" y="615"/>
                      </a:cubicBezTo>
                      <a:cubicBezTo>
                        <a:pt x="576" y="615"/>
                        <a:pt x="666" y="604"/>
                        <a:pt x="725" y="604"/>
                      </a:cubicBezTo>
                      <a:cubicBezTo>
                        <a:pt x="782" y="604"/>
                        <a:pt x="866" y="613"/>
                        <a:pt x="866" y="646"/>
                      </a:cubicBezTo>
                      <a:cubicBezTo>
                        <a:pt x="866" y="709"/>
                        <a:pt x="663" y="807"/>
                        <a:pt x="491" y="807"/>
                      </a:cubicBezTo>
                      <a:cubicBezTo>
                        <a:pt x="232" y="807"/>
                        <a:pt x="0" y="666"/>
                        <a:pt x="0" y="497"/>
                      </a:cubicBezTo>
                      <a:cubicBezTo>
                        <a:pt x="0" y="215"/>
                        <a:pt x="548" y="0"/>
                        <a:pt x="706" y="0"/>
                      </a:cubicBezTo>
                      <a:cubicBezTo>
                        <a:pt x="847" y="3"/>
                        <a:pt x="866" y="232"/>
                        <a:pt x="866" y="316"/>
                      </a:cubicBezTo>
                      <a:cubicBezTo>
                        <a:pt x="866" y="494"/>
                        <a:pt x="756" y="531"/>
                        <a:pt x="635" y="531"/>
                      </a:cubicBezTo>
                      <a:close/>
                      <a:moveTo>
                        <a:pt x="613" y="209"/>
                      </a:moveTo>
                      <a:cubicBezTo>
                        <a:pt x="519" y="209"/>
                        <a:pt x="356" y="350"/>
                        <a:pt x="342" y="367"/>
                      </a:cubicBezTo>
                      <a:cubicBezTo>
                        <a:pt x="330" y="378"/>
                        <a:pt x="339" y="378"/>
                        <a:pt x="356" y="378"/>
                      </a:cubicBezTo>
                      <a:lnTo>
                        <a:pt x="565" y="378"/>
                      </a:lnTo>
                      <a:cubicBezTo>
                        <a:pt x="638" y="376"/>
                        <a:pt x="644" y="364"/>
                        <a:pt x="644" y="297"/>
                      </a:cubicBezTo>
                      <a:cubicBezTo>
                        <a:pt x="644" y="260"/>
                        <a:pt x="641" y="209"/>
                        <a:pt x="613" y="209"/>
                      </a:cubicBezTo>
                      <a:close/>
                    </a:path>
                  </a:pathLst>
                </a:custGeom>
                <a:solidFill>
                  <a:srgbClr val="E63323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47" name="Freeform 20"/>
                <p:cNvSpPr>
                  <a:spLocks noChangeArrowheads="1"/>
                </p:cNvSpPr>
                <p:nvPr/>
              </p:nvSpPr>
              <p:spPr bwMode="auto">
                <a:xfrm>
                  <a:off x="2632075" y="5402263"/>
                  <a:ext cx="266700" cy="230187"/>
                </a:xfrm>
                <a:custGeom>
                  <a:avLst/>
                  <a:gdLst>
                    <a:gd name="T0" fmla="*/ 640 w 743"/>
                    <a:gd name="T1" fmla="*/ 441 h 639"/>
                    <a:gd name="T2" fmla="*/ 245 w 743"/>
                    <a:gd name="T3" fmla="*/ 638 h 639"/>
                    <a:gd name="T4" fmla="*/ 0 w 743"/>
                    <a:gd name="T5" fmla="*/ 497 h 639"/>
                    <a:gd name="T6" fmla="*/ 101 w 743"/>
                    <a:gd name="T7" fmla="*/ 206 h 639"/>
                    <a:gd name="T8" fmla="*/ 482 w 743"/>
                    <a:gd name="T9" fmla="*/ 3 h 639"/>
                    <a:gd name="T10" fmla="*/ 742 w 743"/>
                    <a:gd name="T11" fmla="*/ 144 h 639"/>
                    <a:gd name="T12" fmla="*/ 640 w 743"/>
                    <a:gd name="T13" fmla="*/ 441 h 639"/>
                    <a:gd name="T14" fmla="*/ 355 w 743"/>
                    <a:gd name="T15" fmla="*/ 173 h 639"/>
                    <a:gd name="T16" fmla="*/ 273 w 743"/>
                    <a:gd name="T17" fmla="*/ 458 h 639"/>
                    <a:gd name="T18" fmla="*/ 327 w 743"/>
                    <a:gd name="T19" fmla="*/ 489 h 639"/>
                    <a:gd name="T20" fmla="*/ 389 w 743"/>
                    <a:gd name="T21" fmla="*/ 472 h 639"/>
                    <a:gd name="T22" fmla="*/ 468 w 743"/>
                    <a:gd name="T23" fmla="*/ 187 h 639"/>
                    <a:gd name="T24" fmla="*/ 417 w 743"/>
                    <a:gd name="T25" fmla="*/ 153 h 639"/>
                    <a:gd name="T26" fmla="*/ 355 w 743"/>
                    <a:gd name="T27" fmla="*/ 173 h 6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43" h="639">
                      <a:moveTo>
                        <a:pt x="640" y="441"/>
                      </a:moveTo>
                      <a:cubicBezTo>
                        <a:pt x="539" y="638"/>
                        <a:pt x="400" y="638"/>
                        <a:pt x="245" y="638"/>
                      </a:cubicBezTo>
                      <a:cubicBezTo>
                        <a:pt x="169" y="638"/>
                        <a:pt x="0" y="638"/>
                        <a:pt x="0" y="497"/>
                      </a:cubicBezTo>
                      <a:cubicBezTo>
                        <a:pt x="0" y="432"/>
                        <a:pt x="56" y="317"/>
                        <a:pt x="101" y="206"/>
                      </a:cubicBezTo>
                      <a:cubicBezTo>
                        <a:pt x="121" y="158"/>
                        <a:pt x="203" y="3"/>
                        <a:pt x="482" y="3"/>
                      </a:cubicBezTo>
                      <a:cubicBezTo>
                        <a:pt x="598" y="0"/>
                        <a:pt x="742" y="20"/>
                        <a:pt x="742" y="144"/>
                      </a:cubicBezTo>
                      <a:cubicBezTo>
                        <a:pt x="742" y="221"/>
                        <a:pt x="666" y="393"/>
                        <a:pt x="640" y="441"/>
                      </a:cubicBezTo>
                      <a:close/>
                      <a:moveTo>
                        <a:pt x="355" y="173"/>
                      </a:moveTo>
                      <a:cubicBezTo>
                        <a:pt x="307" y="240"/>
                        <a:pt x="273" y="410"/>
                        <a:pt x="273" y="458"/>
                      </a:cubicBezTo>
                      <a:cubicBezTo>
                        <a:pt x="273" y="489"/>
                        <a:pt x="296" y="489"/>
                        <a:pt x="327" y="489"/>
                      </a:cubicBezTo>
                      <a:cubicBezTo>
                        <a:pt x="344" y="489"/>
                        <a:pt x="372" y="489"/>
                        <a:pt x="389" y="472"/>
                      </a:cubicBezTo>
                      <a:cubicBezTo>
                        <a:pt x="431" y="427"/>
                        <a:pt x="468" y="223"/>
                        <a:pt x="468" y="187"/>
                      </a:cubicBezTo>
                      <a:cubicBezTo>
                        <a:pt x="468" y="164"/>
                        <a:pt x="468" y="153"/>
                        <a:pt x="417" y="153"/>
                      </a:cubicBezTo>
                      <a:cubicBezTo>
                        <a:pt x="397" y="153"/>
                        <a:pt x="369" y="156"/>
                        <a:pt x="355" y="173"/>
                      </a:cubicBezTo>
                      <a:close/>
                    </a:path>
                  </a:pathLst>
                </a:custGeom>
                <a:solidFill>
                  <a:srgbClr val="E63323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742555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Colum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Content Placeholder 34"/>
          <p:cNvSpPr>
            <a:spLocks noGrp="1"/>
          </p:cNvSpPr>
          <p:nvPr>
            <p:ph sz="quarter" idx="13" hasCustomPrompt="1"/>
          </p:nvPr>
        </p:nvSpPr>
        <p:spPr>
          <a:xfrm>
            <a:off x="332439" y="1527048"/>
            <a:ext cx="11441338" cy="4535424"/>
          </a:xfrm>
          <a:prstGeom prst="rect">
            <a:avLst/>
          </a:prstGeom>
        </p:spPr>
        <p:txBody>
          <a:bodyPr/>
          <a:lstStyle>
            <a:lvl1pPr marL="180975" indent="-180975">
              <a:lnSpc>
                <a:spcPct val="100000"/>
              </a:lnSpc>
              <a:buClr>
                <a:schemeClr val="accent1"/>
              </a:buClr>
              <a:tabLst/>
              <a:defRPr sz="1600">
                <a:latin typeface="+mn-lt"/>
                <a:ea typeface="Verdana" charset="0"/>
                <a:cs typeface="Verdana" charset="0"/>
              </a:defRPr>
            </a:lvl1pPr>
            <a:lvl2pPr>
              <a:buClr>
                <a:schemeClr val="accent1"/>
              </a:buClr>
              <a:defRPr sz="20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600"/>
            </a:lvl4pPr>
            <a:lvl5pPr>
              <a:buClr>
                <a:schemeClr val="accent1"/>
              </a:buClr>
              <a:defRPr sz="1600"/>
            </a:lvl5pPr>
          </a:lstStyle>
          <a:p>
            <a:pPr lvl="0"/>
            <a:r>
              <a:rPr lang="en-US" dirty="0"/>
              <a:t>Click to edit cont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32439" y="312081"/>
            <a:ext cx="11441338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buFontTx/>
              <a:buNone/>
              <a:defRPr lang="en-US" sz="3000" b="1" kern="1200" baseline="0" smtClean="0">
                <a:solidFill>
                  <a:schemeClr val="tx2"/>
                </a:solidFill>
                <a:latin typeface="+mn-lt"/>
                <a:ea typeface="Verdana" charset="0"/>
                <a:cs typeface="Verdana" charset="0"/>
              </a:defRPr>
            </a:lvl1pPr>
            <a:lvl2pPr>
              <a:defRPr>
                <a:latin typeface="Verdana" charset="0"/>
                <a:ea typeface="Verdana" charset="0"/>
                <a:cs typeface="Verdana" charset="0"/>
              </a:defRPr>
            </a:lvl2pPr>
            <a:lvl3pPr>
              <a:defRPr>
                <a:latin typeface="Verdana" charset="0"/>
                <a:ea typeface="Verdana" charset="0"/>
                <a:cs typeface="Verdana" charset="0"/>
              </a:defRPr>
            </a:lvl3pPr>
            <a:lvl4pPr>
              <a:defRPr>
                <a:latin typeface="Verdana" charset="0"/>
                <a:ea typeface="Verdana" charset="0"/>
                <a:cs typeface="Verdana" charset="0"/>
              </a:defRPr>
            </a:lvl4pPr>
            <a:lvl5pPr>
              <a:defRPr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Font typeface="Arial"/>
              <a:buNone/>
            </a:pPr>
            <a:r>
              <a:rPr lang="en-US" dirty="0"/>
              <a:t>CLICK TO EDIT SLIDE TIT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2439" y="880633"/>
            <a:ext cx="11441338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buFontTx/>
              <a:buNone/>
              <a:defRPr lang="en-US" sz="1600" b="1" kern="1200" baseline="0" smtClean="0">
                <a:solidFill>
                  <a:schemeClr val="accent1"/>
                </a:solidFill>
                <a:latin typeface="+mn-lt"/>
                <a:ea typeface="Verdana" charset="0"/>
                <a:cs typeface="Verdana" charset="0"/>
              </a:defRPr>
            </a:lvl1pPr>
            <a:lvl2pPr>
              <a:defRPr>
                <a:latin typeface="Verdana" charset="0"/>
                <a:ea typeface="Verdana" charset="0"/>
                <a:cs typeface="Verdana" charset="0"/>
              </a:defRPr>
            </a:lvl2pPr>
            <a:lvl3pPr>
              <a:defRPr>
                <a:latin typeface="Verdana" charset="0"/>
                <a:ea typeface="Verdana" charset="0"/>
                <a:cs typeface="Verdana" charset="0"/>
              </a:defRPr>
            </a:lvl3pPr>
            <a:lvl4pPr>
              <a:defRPr>
                <a:latin typeface="Verdana" charset="0"/>
                <a:ea typeface="Verdana" charset="0"/>
                <a:cs typeface="Verdana" charset="0"/>
              </a:defRPr>
            </a:lvl4pPr>
            <a:lvl5pPr>
              <a:defRPr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Font typeface="Arial"/>
              <a:buNone/>
            </a:pPr>
            <a:r>
              <a:rPr lang="en-US" dirty="0"/>
              <a:t>Click to Edit Sub-title</a:t>
            </a:r>
          </a:p>
        </p:txBody>
      </p:sp>
      <p:sp>
        <p:nvSpPr>
          <p:cNvPr id="7" name="Slide Number Placeholder 47"/>
          <p:cNvSpPr>
            <a:spLocks noGrp="1"/>
          </p:cNvSpPr>
          <p:nvPr>
            <p:ph type="sldNum" sz="quarter" idx="4"/>
          </p:nvPr>
        </p:nvSpPr>
        <p:spPr>
          <a:xfrm>
            <a:off x="5923109" y="6386179"/>
            <a:ext cx="345782" cy="283906"/>
          </a:xfrm>
          <a:prstGeom prst="rect">
            <a:avLst/>
          </a:prstGeom>
        </p:spPr>
        <p:txBody>
          <a:bodyPr vert="horz" wrap="none" lIns="72000" tIns="72000" rIns="72000" bIns="72000" rtlCol="0" anchor="ctr">
            <a:spAutoFit/>
          </a:bodyPr>
          <a:lstStyle>
            <a:lvl1pPr marL="0" algn="ctr" defTabSz="914400" rtl="0" eaLnBrk="1" latinLnBrk="0" hangingPunct="1">
              <a:defRPr lang="en-US" sz="900" b="0" kern="1200" smtClean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fld id="{908A6156-A627-474E-9F69-6627F5ED25C1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6222926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Column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73288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" name="think-cell Slide" r:id="rId4" imgW="225" imgH="225" progId="TCLayout.ActiveDocument.1">
                  <p:embed/>
                </p:oleObj>
              </mc:Choice>
              <mc:Fallback>
                <p:oleObj name="think-cell Slide" r:id="rId4" imgW="225" imgH="2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34"/>
          <p:cNvSpPr>
            <a:spLocks noGrp="1"/>
          </p:cNvSpPr>
          <p:nvPr>
            <p:ph sz="quarter" idx="13" hasCustomPrompt="1"/>
          </p:nvPr>
        </p:nvSpPr>
        <p:spPr>
          <a:xfrm>
            <a:off x="332439" y="1527048"/>
            <a:ext cx="5512982" cy="4535424"/>
          </a:xfrm>
          <a:prstGeom prst="rect">
            <a:avLst/>
          </a:prstGeom>
        </p:spPr>
        <p:txBody>
          <a:bodyPr/>
          <a:lstStyle>
            <a:lvl1pPr marL="180975" indent="-180975">
              <a:lnSpc>
                <a:spcPct val="100000"/>
              </a:lnSpc>
              <a:buClr>
                <a:schemeClr val="accent1"/>
              </a:buClr>
              <a:tabLst/>
              <a:defRPr sz="1600">
                <a:latin typeface="+mn-lt"/>
                <a:ea typeface="Verdana" charset="0"/>
                <a:cs typeface="Verdana" charset="0"/>
              </a:defRPr>
            </a:lvl1pPr>
            <a:lvl2pPr>
              <a:buClr>
                <a:schemeClr val="accent1"/>
              </a:buClr>
              <a:defRPr sz="20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600"/>
            </a:lvl4pPr>
            <a:lvl5pPr>
              <a:buClr>
                <a:schemeClr val="accent1"/>
              </a:buClr>
              <a:defRPr sz="1600"/>
            </a:lvl5pPr>
          </a:lstStyle>
          <a:p>
            <a:pPr lvl="0"/>
            <a:r>
              <a:rPr lang="en-US" dirty="0"/>
              <a:t>Click to edit conten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32439" y="312081"/>
            <a:ext cx="11441338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buFontTx/>
              <a:buNone/>
              <a:defRPr lang="en-US" sz="3000" b="1" kern="1200" baseline="0" smtClean="0">
                <a:solidFill>
                  <a:schemeClr val="tx2"/>
                </a:solidFill>
                <a:latin typeface="+mn-lt"/>
                <a:ea typeface="Verdana" charset="0"/>
                <a:cs typeface="Verdana" charset="0"/>
              </a:defRPr>
            </a:lvl1pPr>
            <a:lvl2pPr>
              <a:defRPr>
                <a:latin typeface="Verdana" charset="0"/>
                <a:ea typeface="Verdana" charset="0"/>
                <a:cs typeface="Verdana" charset="0"/>
              </a:defRPr>
            </a:lvl2pPr>
            <a:lvl3pPr>
              <a:defRPr>
                <a:latin typeface="Verdana" charset="0"/>
                <a:ea typeface="Verdana" charset="0"/>
                <a:cs typeface="Verdana" charset="0"/>
              </a:defRPr>
            </a:lvl3pPr>
            <a:lvl4pPr>
              <a:defRPr>
                <a:latin typeface="Verdana" charset="0"/>
                <a:ea typeface="Verdana" charset="0"/>
                <a:cs typeface="Verdana" charset="0"/>
              </a:defRPr>
            </a:lvl4pPr>
            <a:lvl5pPr>
              <a:defRPr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Font typeface="Arial"/>
              <a:buNone/>
            </a:pPr>
            <a:r>
              <a:rPr lang="en-US" dirty="0"/>
              <a:t>CLICK TO EDIT SLIDE 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2439" y="880633"/>
            <a:ext cx="11441338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buFontTx/>
              <a:buNone/>
              <a:defRPr lang="en-US" sz="1600" b="1" kern="1200" baseline="0" smtClean="0">
                <a:solidFill>
                  <a:schemeClr val="accent1"/>
                </a:solidFill>
                <a:latin typeface="+mn-lt"/>
                <a:ea typeface="Verdana" charset="0"/>
                <a:cs typeface="Verdana" charset="0"/>
              </a:defRPr>
            </a:lvl1pPr>
            <a:lvl2pPr>
              <a:defRPr>
                <a:latin typeface="Verdana" charset="0"/>
                <a:ea typeface="Verdana" charset="0"/>
                <a:cs typeface="Verdana" charset="0"/>
              </a:defRPr>
            </a:lvl2pPr>
            <a:lvl3pPr>
              <a:defRPr>
                <a:latin typeface="Verdana" charset="0"/>
                <a:ea typeface="Verdana" charset="0"/>
                <a:cs typeface="Verdana" charset="0"/>
              </a:defRPr>
            </a:lvl3pPr>
            <a:lvl4pPr>
              <a:defRPr>
                <a:latin typeface="Verdana" charset="0"/>
                <a:ea typeface="Verdana" charset="0"/>
                <a:cs typeface="Verdana" charset="0"/>
              </a:defRPr>
            </a:lvl4pPr>
            <a:lvl5pPr>
              <a:defRPr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Font typeface="Arial"/>
              <a:buNone/>
            </a:pPr>
            <a:r>
              <a:rPr lang="en-US" dirty="0"/>
              <a:t>Click to Edit Sub-title</a:t>
            </a:r>
          </a:p>
        </p:txBody>
      </p:sp>
      <p:sp>
        <p:nvSpPr>
          <p:cNvPr id="15" name="Content Placeholder 34"/>
          <p:cNvSpPr>
            <a:spLocks noGrp="1"/>
          </p:cNvSpPr>
          <p:nvPr>
            <p:ph sz="quarter" idx="16" hasCustomPrompt="1"/>
          </p:nvPr>
        </p:nvSpPr>
        <p:spPr>
          <a:xfrm>
            <a:off x="6260795" y="1527048"/>
            <a:ext cx="5512982" cy="4535424"/>
          </a:xfrm>
          <a:prstGeom prst="rect">
            <a:avLst/>
          </a:prstGeom>
        </p:spPr>
        <p:txBody>
          <a:bodyPr/>
          <a:lstStyle>
            <a:lvl1pPr marL="180975" indent="-180975">
              <a:lnSpc>
                <a:spcPct val="100000"/>
              </a:lnSpc>
              <a:buClr>
                <a:schemeClr val="accent1"/>
              </a:buClr>
              <a:tabLst/>
              <a:defRPr sz="1600">
                <a:latin typeface="+mn-lt"/>
                <a:ea typeface="Verdana" charset="0"/>
                <a:cs typeface="Verdana" charset="0"/>
              </a:defRPr>
            </a:lvl1pPr>
            <a:lvl2pPr>
              <a:buClr>
                <a:schemeClr val="accent1"/>
              </a:buClr>
              <a:defRPr sz="20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600"/>
            </a:lvl4pPr>
            <a:lvl5pPr>
              <a:buClr>
                <a:schemeClr val="accent1"/>
              </a:buClr>
              <a:defRPr sz="1600"/>
            </a:lvl5pPr>
          </a:lstStyle>
          <a:p>
            <a:pPr lvl="0"/>
            <a:r>
              <a:rPr lang="en-US" dirty="0"/>
              <a:t>Click to edit content</a:t>
            </a:r>
          </a:p>
        </p:txBody>
      </p:sp>
      <p:sp>
        <p:nvSpPr>
          <p:cNvPr id="10" name="Slide Number Placeholder 47"/>
          <p:cNvSpPr>
            <a:spLocks noGrp="1"/>
          </p:cNvSpPr>
          <p:nvPr>
            <p:ph type="sldNum" sz="quarter" idx="4"/>
          </p:nvPr>
        </p:nvSpPr>
        <p:spPr>
          <a:xfrm>
            <a:off x="5923109" y="6386179"/>
            <a:ext cx="345782" cy="283906"/>
          </a:xfrm>
          <a:prstGeom prst="rect">
            <a:avLst/>
          </a:prstGeom>
        </p:spPr>
        <p:txBody>
          <a:bodyPr vert="horz" wrap="none" lIns="72000" tIns="72000" rIns="72000" bIns="72000" rtlCol="0" anchor="ctr">
            <a:spAutoFit/>
          </a:bodyPr>
          <a:lstStyle>
            <a:lvl1pPr marL="0" algn="ctr" defTabSz="914400" rtl="0" eaLnBrk="1" latinLnBrk="0" hangingPunct="1">
              <a:defRPr lang="en-US" sz="900" b="0" kern="1200" smtClean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fld id="{908A6156-A627-474E-9F69-6627F5ED25C1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0977524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Column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34"/>
          <p:cNvSpPr>
            <a:spLocks noGrp="1"/>
          </p:cNvSpPr>
          <p:nvPr>
            <p:ph sz="quarter" idx="13" hasCustomPrompt="1"/>
          </p:nvPr>
        </p:nvSpPr>
        <p:spPr>
          <a:xfrm>
            <a:off x="332439" y="1527048"/>
            <a:ext cx="3769298" cy="4535424"/>
          </a:xfrm>
          <a:prstGeom prst="rect">
            <a:avLst/>
          </a:prstGeom>
        </p:spPr>
        <p:txBody>
          <a:bodyPr/>
          <a:lstStyle>
            <a:lvl1pPr marL="180975" indent="-180975">
              <a:lnSpc>
                <a:spcPct val="100000"/>
              </a:lnSpc>
              <a:buClr>
                <a:schemeClr val="accent1"/>
              </a:buClr>
              <a:tabLst/>
              <a:defRPr sz="1600">
                <a:latin typeface="+mn-lt"/>
                <a:ea typeface="Verdana" charset="0"/>
                <a:cs typeface="Verdana" charset="0"/>
              </a:defRPr>
            </a:lvl1pPr>
            <a:lvl2pPr>
              <a:buClr>
                <a:schemeClr val="accent1"/>
              </a:buClr>
              <a:defRPr sz="20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600"/>
            </a:lvl4pPr>
            <a:lvl5pPr>
              <a:buClr>
                <a:schemeClr val="accent1"/>
              </a:buClr>
              <a:defRPr sz="1600"/>
            </a:lvl5pPr>
          </a:lstStyle>
          <a:p>
            <a:pPr lvl="0"/>
            <a:r>
              <a:rPr lang="en-US" dirty="0"/>
              <a:t>Click to edit conten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32439" y="312081"/>
            <a:ext cx="11441338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buFontTx/>
              <a:buNone/>
              <a:defRPr lang="en-US" sz="3000" b="1" kern="1200" baseline="0" smtClean="0">
                <a:solidFill>
                  <a:schemeClr val="tx2"/>
                </a:solidFill>
                <a:latin typeface="+mn-lt"/>
                <a:ea typeface="Verdana" charset="0"/>
                <a:cs typeface="Verdana" charset="0"/>
              </a:defRPr>
            </a:lvl1pPr>
            <a:lvl2pPr>
              <a:defRPr>
                <a:latin typeface="Verdana" charset="0"/>
                <a:ea typeface="Verdana" charset="0"/>
                <a:cs typeface="Verdana" charset="0"/>
              </a:defRPr>
            </a:lvl2pPr>
            <a:lvl3pPr>
              <a:defRPr>
                <a:latin typeface="Verdana" charset="0"/>
                <a:ea typeface="Verdana" charset="0"/>
                <a:cs typeface="Verdana" charset="0"/>
              </a:defRPr>
            </a:lvl3pPr>
            <a:lvl4pPr>
              <a:defRPr>
                <a:latin typeface="Verdana" charset="0"/>
                <a:ea typeface="Verdana" charset="0"/>
                <a:cs typeface="Verdana" charset="0"/>
              </a:defRPr>
            </a:lvl4pPr>
            <a:lvl5pPr>
              <a:defRPr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Font typeface="Arial"/>
              <a:buNone/>
            </a:pPr>
            <a:r>
              <a:rPr lang="en-US" dirty="0"/>
              <a:t>CLICK TO EDIT SLIDE TITLE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2439" y="880633"/>
            <a:ext cx="11441338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buFontTx/>
              <a:buNone/>
              <a:defRPr lang="en-US" sz="1600" b="1" kern="1200" baseline="0" smtClean="0">
                <a:solidFill>
                  <a:schemeClr val="accent1"/>
                </a:solidFill>
                <a:latin typeface="+mn-lt"/>
                <a:ea typeface="Verdana" charset="0"/>
                <a:cs typeface="Verdana" charset="0"/>
              </a:defRPr>
            </a:lvl1pPr>
            <a:lvl2pPr>
              <a:defRPr>
                <a:latin typeface="Verdana" charset="0"/>
                <a:ea typeface="Verdana" charset="0"/>
                <a:cs typeface="Verdana" charset="0"/>
              </a:defRPr>
            </a:lvl2pPr>
            <a:lvl3pPr>
              <a:defRPr>
                <a:latin typeface="Verdana" charset="0"/>
                <a:ea typeface="Verdana" charset="0"/>
                <a:cs typeface="Verdana" charset="0"/>
              </a:defRPr>
            </a:lvl3pPr>
            <a:lvl4pPr>
              <a:defRPr>
                <a:latin typeface="Verdana" charset="0"/>
                <a:ea typeface="Verdana" charset="0"/>
                <a:cs typeface="Verdana" charset="0"/>
              </a:defRPr>
            </a:lvl4pPr>
            <a:lvl5pPr>
              <a:defRPr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Font typeface="Arial"/>
              <a:buNone/>
            </a:pPr>
            <a:r>
              <a:rPr lang="en-US" dirty="0"/>
              <a:t>Click to Edit Sub-title</a:t>
            </a:r>
          </a:p>
        </p:txBody>
      </p:sp>
      <p:sp>
        <p:nvSpPr>
          <p:cNvPr id="23" name="Content Placeholder 34"/>
          <p:cNvSpPr>
            <a:spLocks noGrp="1"/>
          </p:cNvSpPr>
          <p:nvPr>
            <p:ph sz="quarter" idx="16" hasCustomPrompt="1"/>
          </p:nvPr>
        </p:nvSpPr>
        <p:spPr>
          <a:xfrm>
            <a:off x="4260002" y="1527048"/>
            <a:ext cx="3673507" cy="4535424"/>
          </a:xfrm>
          <a:prstGeom prst="rect">
            <a:avLst/>
          </a:prstGeom>
        </p:spPr>
        <p:txBody>
          <a:bodyPr/>
          <a:lstStyle>
            <a:lvl1pPr marL="180975" indent="-180975">
              <a:lnSpc>
                <a:spcPct val="100000"/>
              </a:lnSpc>
              <a:buClr>
                <a:schemeClr val="accent1"/>
              </a:buClr>
              <a:tabLst/>
              <a:defRPr sz="1600">
                <a:latin typeface="+mn-lt"/>
                <a:ea typeface="Verdana" charset="0"/>
                <a:cs typeface="Verdana" charset="0"/>
              </a:defRPr>
            </a:lvl1pPr>
            <a:lvl2pPr>
              <a:buClr>
                <a:schemeClr val="accent1"/>
              </a:buClr>
              <a:defRPr sz="20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600"/>
            </a:lvl4pPr>
            <a:lvl5pPr>
              <a:buClr>
                <a:schemeClr val="accent1"/>
              </a:buClr>
              <a:defRPr sz="1600"/>
            </a:lvl5pPr>
          </a:lstStyle>
          <a:p>
            <a:pPr lvl="0"/>
            <a:r>
              <a:rPr lang="en-US" dirty="0"/>
              <a:t>Click to edit content</a:t>
            </a:r>
          </a:p>
        </p:txBody>
      </p:sp>
      <p:sp>
        <p:nvSpPr>
          <p:cNvPr id="24" name="Content Placeholder 34"/>
          <p:cNvSpPr>
            <a:spLocks noGrp="1"/>
          </p:cNvSpPr>
          <p:nvPr>
            <p:ph sz="quarter" idx="17" hasCustomPrompt="1"/>
          </p:nvPr>
        </p:nvSpPr>
        <p:spPr>
          <a:xfrm>
            <a:off x="8100272" y="1527048"/>
            <a:ext cx="3673507" cy="4535424"/>
          </a:xfrm>
          <a:prstGeom prst="rect">
            <a:avLst/>
          </a:prstGeom>
        </p:spPr>
        <p:txBody>
          <a:bodyPr/>
          <a:lstStyle>
            <a:lvl1pPr marL="180975" indent="-180975">
              <a:lnSpc>
                <a:spcPct val="100000"/>
              </a:lnSpc>
              <a:buClr>
                <a:schemeClr val="accent1"/>
              </a:buClr>
              <a:tabLst/>
              <a:defRPr sz="1600">
                <a:latin typeface="+mn-lt"/>
                <a:ea typeface="Verdana" charset="0"/>
                <a:cs typeface="Verdana" charset="0"/>
              </a:defRPr>
            </a:lvl1pPr>
            <a:lvl2pPr>
              <a:buClr>
                <a:schemeClr val="accent1"/>
              </a:buClr>
              <a:defRPr sz="20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600"/>
            </a:lvl4pPr>
            <a:lvl5pPr>
              <a:buClr>
                <a:schemeClr val="accent1"/>
              </a:buClr>
              <a:defRPr sz="1600"/>
            </a:lvl5pPr>
          </a:lstStyle>
          <a:p>
            <a:pPr lvl="0"/>
            <a:r>
              <a:rPr lang="en-US" dirty="0"/>
              <a:t>Click to edit content</a:t>
            </a:r>
          </a:p>
        </p:txBody>
      </p:sp>
      <p:sp>
        <p:nvSpPr>
          <p:cNvPr id="11" name="Slide Number Placeholder 47"/>
          <p:cNvSpPr>
            <a:spLocks noGrp="1"/>
          </p:cNvSpPr>
          <p:nvPr>
            <p:ph type="sldNum" sz="quarter" idx="4"/>
          </p:nvPr>
        </p:nvSpPr>
        <p:spPr>
          <a:xfrm>
            <a:off x="5923109" y="6386179"/>
            <a:ext cx="345782" cy="283906"/>
          </a:xfrm>
          <a:prstGeom prst="rect">
            <a:avLst/>
          </a:prstGeom>
        </p:spPr>
        <p:txBody>
          <a:bodyPr vert="horz" wrap="none" lIns="72000" tIns="72000" rIns="72000" bIns="72000" rtlCol="0" anchor="ctr">
            <a:spAutoFit/>
          </a:bodyPr>
          <a:lstStyle>
            <a:lvl1pPr marL="0" algn="ctr" defTabSz="914400" rtl="0" eaLnBrk="1" latinLnBrk="0" hangingPunct="1">
              <a:defRPr lang="en-US" sz="900" b="0" kern="1200" smtClean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fld id="{908A6156-A627-474E-9F69-6627F5ED25C1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256752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Column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34"/>
          <p:cNvSpPr>
            <a:spLocks noGrp="1"/>
          </p:cNvSpPr>
          <p:nvPr>
            <p:ph sz="quarter" idx="13" hasCustomPrompt="1"/>
          </p:nvPr>
        </p:nvSpPr>
        <p:spPr>
          <a:xfrm>
            <a:off x="332439" y="1527048"/>
            <a:ext cx="2860333" cy="4535424"/>
          </a:xfrm>
          <a:prstGeom prst="rect">
            <a:avLst/>
          </a:prstGeom>
        </p:spPr>
        <p:txBody>
          <a:bodyPr/>
          <a:lstStyle>
            <a:lvl1pPr marL="180975" indent="-180975">
              <a:lnSpc>
                <a:spcPct val="100000"/>
              </a:lnSpc>
              <a:buClr>
                <a:schemeClr val="accent1"/>
              </a:buClr>
              <a:tabLst/>
              <a:defRPr sz="1600">
                <a:latin typeface="+mn-lt"/>
                <a:ea typeface="Verdana" charset="0"/>
                <a:cs typeface="Verdana" charset="0"/>
              </a:defRPr>
            </a:lvl1pPr>
            <a:lvl2pPr>
              <a:buClr>
                <a:schemeClr val="accent1"/>
              </a:buClr>
              <a:defRPr sz="20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600"/>
            </a:lvl4pPr>
            <a:lvl5pPr>
              <a:buClr>
                <a:schemeClr val="accent1"/>
              </a:buClr>
              <a:defRPr sz="1600"/>
            </a:lvl5pPr>
          </a:lstStyle>
          <a:p>
            <a:pPr lvl="0"/>
            <a:r>
              <a:rPr lang="en-US" dirty="0"/>
              <a:t>Click to edit conten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32439" y="312081"/>
            <a:ext cx="11441338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buFontTx/>
              <a:buNone/>
              <a:defRPr lang="en-US" sz="3000" b="1" kern="1200" baseline="0" smtClean="0">
                <a:solidFill>
                  <a:schemeClr val="tx2"/>
                </a:solidFill>
                <a:latin typeface="+mn-lt"/>
                <a:ea typeface="Verdana" charset="0"/>
                <a:cs typeface="Verdana" charset="0"/>
              </a:defRPr>
            </a:lvl1pPr>
            <a:lvl2pPr>
              <a:defRPr>
                <a:latin typeface="Verdana" charset="0"/>
                <a:ea typeface="Verdana" charset="0"/>
                <a:cs typeface="Verdana" charset="0"/>
              </a:defRPr>
            </a:lvl2pPr>
            <a:lvl3pPr>
              <a:defRPr>
                <a:latin typeface="Verdana" charset="0"/>
                <a:ea typeface="Verdana" charset="0"/>
                <a:cs typeface="Verdana" charset="0"/>
              </a:defRPr>
            </a:lvl3pPr>
            <a:lvl4pPr>
              <a:defRPr>
                <a:latin typeface="Verdana" charset="0"/>
                <a:ea typeface="Verdana" charset="0"/>
                <a:cs typeface="Verdana" charset="0"/>
              </a:defRPr>
            </a:lvl4pPr>
            <a:lvl5pPr>
              <a:defRPr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Font typeface="Arial"/>
              <a:buNone/>
            </a:pPr>
            <a:r>
              <a:rPr lang="en-US" dirty="0"/>
              <a:t>CLICK TO EDIT SLIDE TITL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2439" y="880633"/>
            <a:ext cx="11441338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buFontTx/>
              <a:buNone/>
              <a:defRPr lang="en-US" sz="1600" b="1" kern="1200" baseline="0" smtClean="0">
                <a:solidFill>
                  <a:schemeClr val="accent1"/>
                </a:solidFill>
                <a:latin typeface="+mn-lt"/>
                <a:ea typeface="Verdana" charset="0"/>
                <a:cs typeface="Verdana" charset="0"/>
              </a:defRPr>
            </a:lvl1pPr>
            <a:lvl2pPr>
              <a:defRPr>
                <a:latin typeface="Verdana" charset="0"/>
                <a:ea typeface="Verdana" charset="0"/>
                <a:cs typeface="Verdana" charset="0"/>
              </a:defRPr>
            </a:lvl2pPr>
            <a:lvl3pPr>
              <a:defRPr>
                <a:latin typeface="Verdana" charset="0"/>
                <a:ea typeface="Verdana" charset="0"/>
                <a:cs typeface="Verdana" charset="0"/>
              </a:defRPr>
            </a:lvl3pPr>
            <a:lvl4pPr>
              <a:defRPr>
                <a:latin typeface="Verdana" charset="0"/>
                <a:ea typeface="Verdana" charset="0"/>
                <a:cs typeface="Verdana" charset="0"/>
              </a:defRPr>
            </a:lvl4pPr>
            <a:lvl5pPr>
              <a:defRPr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Font typeface="Arial"/>
              <a:buNone/>
            </a:pPr>
            <a:r>
              <a:rPr lang="en-US" dirty="0"/>
              <a:t>Click to Edit Sub-title</a:t>
            </a:r>
          </a:p>
        </p:txBody>
      </p:sp>
      <p:sp>
        <p:nvSpPr>
          <p:cNvPr id="27" name="Content Placeholder 34"/>
          <p:cNvSpPr>
            <a:spLocks noGrp="1"/>
          </p:cNvSpPr>
          <p:nvPr>
            <p:ph sz="quarter" idx="16" hasCustomPrompt="1"/>
          </p:nvPr>
        </p:nvSpPr>
        <p:spPr>
          <a:xfrm>
            <a:off x="3192775" y="1527048"/>
            <a:ext cx="2860333" cy="4535424"/>
          </a:xfrm>
          <a:prstGeom prst="rect">
            <a:avLst/>
          </a:prstGeom>
        </p:spPr>
        <p:txBody>
          <a:bodyPr/>
          <a:lstStyle>
            <a:lvl1pPr marL="180975" indent="-180975">
              <a:lnSpc>
                <a:spcPct val="100000"/>
              </a:lnSpc>
              <a:buClr>
                <a:schemeClr val="accent1"/>
              </a:buClr>
              <a:tabLst/>
              <a:defRPr sz="1600">
                <a:latin typeface="+mn-lt"/>
                <a:ea typeface="Verdana" charset="0"/>
                <a:cs typeface="Verdana" charset="0"/>
              </a:defRPr>
            </a:lvl1pPr>
            <a:lvl2pPr>
              <a:buClr>
                <a:schemeClr val="accent1"/>
              </a:buClr>
              <a:defRPr sz="20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600"/>
            </a:lvl4pPr>
            <a:lvl5pPr>
              <a:buClr>
                <a:schemeClr val="accent1"/>
              </a:buClr>
              <a:defRPr sz="1600"/>
            </a:lvl5pPr>
          </a:lstStyle>
          <a:p>
            <a:pPr lvl="0"/>
            <a:r>
              <a:rPr lang="en-US" dirty="0"/>
              <a:t>Click to edit content</a:t>
            </a:r>
          </a:p>
        </p:txBody>
      </p:sp>
      <p:sp>
        <p:nvSpPr>
          <p:cNvPr id="28" name="Content Placeholder 34"/>
          <p:cNvSpPr>
            <a:spLocks noGrp="1"/>
          </p:cNvSpPr>
          <p:nvPr>
            <p:ph sz="quarter" idx="17" hasCustomPrompt="1"/>
          </p:nvPr>
        </p:nvSpPr>
        <p:spPr>
          <a:xfrm>
            <a:off x="6053108" y="1527048"/>
            <a:ext cx="2860333" cy="4535424"/>
          </a:xfrm>
          <a:prstGeom prst="rect">
            <a:avLst/>
          </a:prstGeom>
        </p:spPr>
        <p:txBody>
          <a:bodyPr/>
          <a:lstStyle>
            <a:lvl1pPr marL="180975" indent="-180975">
              <a:lnSpc>
                <a:spcPct val="100000"/>
              </a:lnSpc>
              <a:buClr>
                <a:schemeClr val="accent1"/>
              </a:buClr>
              <a:tabLst/>
              <a:defRPr sz="1600">
                <a:latin typeface="+mn-lt"/>
                <a:ea typeface="Verdana" charset="0"/>
                <a:cs typeface="Verdana" charset="0"/>
              </a:defRPr>
            </a:lvl1pPr>
            <a:lvl2pPr>
              <a:buClr>
                <a:schemeClr val="accent1"/>
              </a:buClr>
              <a:defRPr sz="20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600"/>
            </a:lvl4pPr>
            <a:lvl5pPr>
              <a:buClr>
                <a:schemeClr val="accent1"/>
              </a:buClr>
              <a:defRPr sz="1600"/>
            </a:lvl5pPr>
          </a:lstStyle>
          <a:p>
            <a:pPr lvl="0"/>
            <a:r>
              <a:rPr lang="en-US" dirty="0"/>
              <a:t>Click to edit content</a:t>
            </a:r>
          </a:p>
        </p:txBody>
      </p:sp>
      <p:sp>
        <p:nvSpPr>
          <p:cNvPr id="29" name="Content Placeholder 34"/>
          <p:cNvSpPr>
            <a:spLocks noGrp="1"/>
          </p:cNvSpPr>
          <p:nvPr>
            <p:ph sz="quarter" idx="18" hasCustomPrompt="1"/>
          </p:nvPr>
        </p:nvSpPr>
        <p:spPr>
          <a:xfrm>
            <a:off x="8913442" y="1527048"/>
            <a:ext cx="2860333" cy="4535424"/>
          </a:xfrm>
          <a:prstGeom prst="rect">
            <a:avLst/>
          </a:prstGeom>
        </p:spPr>
        <p:txBody>
          <a:bodyPr/>
          <a:lstStyle>
            <a:lvl1pPr marL="180975" indent="-180975">
              <a:lnSpc>
                <a:spcPct val="100000"/>
              </a:lnSpc>
              <a:buClr>
                <a:schemeClr val="accent1"/>
              </a:buClr>
              <a:tabLst/>
              <a:defRPr sz="1600">
                <a:latin typeface="+mn-lt"/>
                <a:ea typeface="Verdana" charset="0"/>
                <a:cs typeface="Verdana" charset="0"/>
              </a:defRPr>
            </a:lvl1pPr>
            <a:lvl2pPr>
              <a:buClr>
                <a:schemeClr val="accent1"/>
              </a:buClr>
              <a:defRPr sz="20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600"/>
            </a:lvl4pPr>
            <a:lvl5pPr>
              <a:buClr>
                <a:schemeClr val="accent1"/>
              </a:buClr>
              <a:defRPr sz="1600"/>
            </a:lvl5pPr>
          </a:lstStyle>
          <a:p>
            <a:pPr lvl="0"/>
            <a:r>
              <a:rPr lang="en-US" dirty="0"/>
              <a:t>Click to edit content</a:t>
            </a:r>
          </a:p>
        </p:txBody>
      </p:sp>
      <p:sp>
        <p:nvSpPr>
          <p:cNvPr id="12" name="Slide Number Placeholder 47"/>
          <p:cNvSpPr>
            <a:spLocks noGrp="1"/>
          </p:cNvSpPr>
          <p:nvPr>
            <p:ph type="sldNum" sz="quarter" idx="4"/>
          </p:nvPr>
        </p:nvSpPr>
        <p:spPr>
          <a:xfrm>
            <a:off x="5923109" y="6386179"/>
            <a:ext cx="345782" cy="283906"/>
          </a:xfrm>
          <a:prstGeom prst="rect">
            <a:avLst/>
          </a:prstGeom>
        </p:spPr>
        <p:txBody>
          <a:bodyPr vert="horz" wrap="none" lIns="72000" tIns="72000" rIns="72000" bIns="72000" rtlCol="0" anchor="ctr">
            <a:spAutoFit/>
          </a:bodyPr>
          <a:lstStyle>
            <a:lvl1pPr marL="0" algn="ctr" defTabSz="914400" rtl="0" eaLnBrk="1" latinLnBrk="0" hangingPunct="1">
              <a:defRPr lang="en-US" sz="900" b="0" kern="1200" smtClean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fld id="{908A6156-A627-474E-9F69-6627F5ED25C1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915136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e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/>
          <p:nvPr userDrawn="1"/>
        </p:nvSpPr>
        <p:spPr>
          <a:xfrm>
            <a:off x="0" y="0"/>
            <a:ext cx="12192000" cy="5538651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74000">
                <a:srgbClr val="C8C8C8"/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 44"/>
          <p:cNvSpPr>
            <a:spLocks noChangeArrowheads="1"/>
          </p:cNvSpPr>
          <p:nvPr userDrawn="1"/>
        </p:nvSpPr>
        <p:spPr bwMode="auto">
          <a:xfrm>
            <a:off x="0" y="1"/>
            <a:ext cx="12192000" cy="5538650"/>
          </a:xfrm>
          <a:custGeom>
            <a:avLst/>
            <a:gdLst>
              <a:gd name="connsiteX0" fmla="*/ 0 w 12192000"/>
              <a:gd name="connsiteY0" fmla="*/ 5361265 h 5538650"/>
              <a:gd name="connsiteX1" fmla="*/ 1803035 w 12192000"/>
              <a:gd name="connsiteY1" fmla="*/ 5538650 h 5538650"/>
              <a:gd name="connsiteX2" fmla="*/ 1651395 w 12192000"/>
              <a:gd name="connsiteY2" fmla="*/ 5538650 h 5538650"/>
              <a:gd name="connsiteX3" fmla="*/ 0 w 12192000"/>
              <a:gd name="connsiteY3" fmla="*/ 5375991 h 5538650"/>
              <a:gd name="connsiteX4" fmla="*/ 12192000 w 12192000"/>
              <a:gd name="connsiteY4" fmla="*/ 5361172 h 5538650"/>
              <a:gd name="connsiteX5" fmla="*/ 12192000 w 12192000"/>
              <a:gd name="connsiteY5" fmla="*/ 5375897 h 5538650"/>
              <a:gd name="connsiteX6" fmla="*/ 10539653 w 12192000"/>
              <a:gd name="connsiteY6" fmla="*/ 5538650 h 5538650"/>
              <a:gd name="connsiteX7" fmla="*/ 10388020 w 12192000"/>
              <a:gd name="connsiteY7" fmla="*/ 5538650 h 5538650"/>
              <a:gd name="connsiteX8" fmla="*/ 0 w 12192000"/>
              <a:gd name="connsiteY8" fmla="*/ 5056639 h 5538650"/>
              <a:gd name="connsiteX9" fmla="*/ 3245598 w 12192000"/>
              <a:gd name="connsiteY9" fmla="*/ 5538650 h 5538650"/>
              <a:gd name="connsiteX10" fmla="*/ 3144944 w 12192000"/>
              <a:gd name="connsiteY10" fmla="*/ 5538650 h 5538650"/>
              <a:gd name="connsiteX11" fmla="*/ 0 w 12192000"/>
              <a:gd name="connsiteY11" fmla="*/ 5071901 h 5538650"/>
              <a:gd name="connsiteX12" fmla="*/ 12192000 w 12192000"/>
              <a:gd name="connsiteY12" fmla="*/ 5056498 h 5538650"/>
              <a:gd name="connsiteX13" fmla="*/ 12192000 w 12192000"/>
              <a:gd name="connsiteY13" fmla="*/ 5071760 h 5538650"/>
              <a:gd name="connsiteX14" fmla="*/ 9046109 w 12192000"/>
              <a:gd name="connsiteY14" fmla="*/ 5538650 h 5538650"/>
              <a:gd name="connsiteX15" fmla="*/ 8945453 w 12192000"/>
              <a:gd name="connsiteY15" fmla="*/ 5538650 h 5538650"/>
              <a:gd name="connsiteX16" fmla="*/ 0 w 12192000"/>
              <a:gd name="connsiteY16" fmla="*/ 4748340 h 5538650"/>
              <a:gd name="connsiteX17" fmla="*/ 3970783 w 12192000"/>
              <a:gd name="connsiteY17" fmla="*/ 5538650 h 5538650"/>
              <a:gd name="connsiteX18" fmla="*/ 3890323 w 12192000"/>
              <a:gd name="connsiteY18" fmla="*/ 5538650 h 5538650"/>
              <a:gd name="connsiteX19" fmla="*/ 0 w 12192000"/>
              <a:gd name="connsiteY19" fmla="*/ 4764446 h 5538650"/>
              <a:gd name="connsiteX20" fmla="*/ 12192000 w 12192000"/>
              <a:gd name="connsiteY20" fmla="*/ 4748152 h 5538650"/>
              <a:gd name="connsiteX21" fmla="*/ 12192000 w 12192000"/>
              <a:gd name="connsiteY21" fmla="*/ 4764257 h 5538650"/>
              <a:gd name="connsiteX22" fmla="*/ 8300729 w 12192000"/>
              <a:gd name="connsiteY22" fmla="*/ 5538650 h 5538650"/>
              <a:gd name="connsiteX23" fmla="*/ 8220271 w 12192000"/>
              <a:gd name="connsiteY23" fmla="*/ 5538650 h 5538650"/>
              <a:gd name="connsiteX24" fmla="*/ 0 w 12192000"/>
              <a:gd name="connsiteY24" fmla="*/ 4434761 h 5538650"/>
              <a:gd name="connsiteX25" fmla="*/ 4407134 w 12192000"/>
              <a:gd name="connsiteY25" fmla="*/ 5538650 h 5538650"/>
              <a:gd name="connsiteX26" fmla="*/ 4344675 w 12192000"/>
              <a:gd name="connsiteY26" fmla="*/ 5538650 h 5538650"/>
              <a:gd name="connsiteX27" fmla="*/ 0 w 12192000"/>
              <a:gd name="connsiteY27" fmla="*/ 4450278 h 5538650"/>
              <a:gd name="connsiteX28" fmla="*/ 12192000 w 12192000"/>
              <a:gd name="connsiteY28" fmla="*/ 4434523 h 5538650"/>
              <a:gd name="connsiteX29" fmla="*/ 12192000 w 12192000"/>
              <a:gd name="connsiteY29" fmla="*/ 4450039 h 5538650"/>
              <a:gd name="connsiteX30" fmla="*/ 7846376 w 12192000"/>
              <a:gd name="connsiteY30" fmla="*/ 5538650 h 5538650"/>
              <a:gd name="connsiteX31" fmla="*/ 7783917 w 12192000"/>
              <a:gd name="connsiteY31" fmla="*/ 5538650 h 5538650"/>
              <a:gd name="connsiteX32" fmla="*/ 0 w 12192000"/>
              <a:gd name="connsiteY32" fmla="*/ 4112365 h 5538650"/>
              <a:gd name="connsiteX33" fmla="*/ 4700598 w 12192000"/>
              <a:gd name="connsiteY33" fmla="*/ 5538650 h 5538650"/>
              <a:gd name="connsiteX34" fmla="*/ 4648976 w 12192000"/>
              <a:gd name="connsiteY34" fmla="*/ 5538650 h 5538650"/>
              <a:gd name="connsiteX35" fmla="*/ 0 w 12192000"/>
              <a:gd name="connsiteY35" fmla="*/ 4127856 h 5538650"/>
              <a:gd name="connsiteX36" fmla="*/ 12192000 w 12192000"/>
              <a:gd name="connsiteY36" fmla="*/ 4111926 h 5538650"/>
              <a:gd name="connsiteX37" fmla="*/ 12192000 w 12192000"/>
              <a:gd name="connsiteY37" fmla="*/ 4127568 h 5538650"/>
              <a:gd name="connsiteX38" fmla="*/ 7542076 w 12192000"/>
              <a:gd name="connsiteY38" fmla="*/ 5538650 h 5538650"/>
              <a:gd name="connsiteX39" fmla="*/ 7488819 w 12192000"/>
              <a:gd name="connsiteY39" fmla="*/ 5538650 h 5538650"/>
              <a:gd name="connsiteX40" fmla="*/ 0 w 12192000"/>
              <a:gd name="connsiteY40" fmla="*/ 3780425 h 5538650"/>
              <a:gd name="connsiteX41" fmla="*/ 4916015 w 12192000"/>
              <a:gd name="connsiteY41" fmla="*/ 5538650 h 5538650"/>
              <a:gd name="connsiteX42" fmla="*/ 4867902 w 12192000"/>
              <a:gd name="connsiteY42" fmla="*/ 5538650 h 5538650"/>
              <a:gd name="connsiteX43" fmla="*/ 0 w 12192000"/>
              <a:gd name="connsiteY43" fmla="*/ 3795622 h 5538650"/>
              <a:gd name="connsiteX44" fmla="*/ 12192000 w 12192000"/>
              <a:gd name="connsiteY44" fmla="*/ 3780085 h 5538650"/>
              <a:gd name="connsiteX45" fmla="*/ 12192000 w 12192000"/>
              <a:gd name="connsiteY45" fmla="*/ 3794601 h 5538650"/>
              <a:gd name="connsiteX46" fmla="*/ 7321249 w 12192000"/>
              <a:gd name="connsiteY46" fmla="*/ 5538650 h 5538650"/>
              <a:gd name="connsiteX47" fmla="*/ 7275037 w 12192000"/>
              <a:gd name="connsiteY47" fmla="*/ 5538650 h 5538650"/>
              <a:gd name="connsiteX48" fmla="*/ 0 w 12192000"/>
              <a:gd name="connsiteY48" fmla="*/ 3435799 h 5538650"/>
              <a:gd name="connsiteX49" fmla="*/ 5077278 w 12192000"/>
              <a:gd name="connsiteY49" fmla="*/ 5538650 h 5538650"/>
              <a:gd name="connsiteX50" fmla="*/ 5037506 w 12192000"/>
              <a:gd name="connsiteY50" fmla="*/ 5538650 h 5538650"/>
              <a:gd name="connsiteX51" fmla="*/ 0 w 12192000"/>
              <a:gd name="connsiteY51" fmla="*/ 3451269 h 5538650"/>
              <a:gd name="connsiteX52" fmla="*/ 12192000 w 12192000"/>
              <a:gd name="connsiteY52" fmla="*/ 3435405 h 5538650"/>
              <a:gd name="connsiteX53" fmla="*/ 12192000 w 12192000"/>
              <a:gd name="connsiteY53" fmla="*/ 3450875 h 5538650"/>
              <a:gd name="connsiteX54" fmla="*/ 7153546 w 12192000"/>
              <a:gd name="connsiteY54" fmla="*/ 5538650 h 5538650"/>
              <a:gd name="connsiteX55" fmla="*/ 7113776 w 12192000"/>
              <a:gd name="connsiteY55" fmla="*/ 5538650 h 5538650"/>
              <a:gd name="connsiteX56" fmla="*/ 0 w 12192000"/>
              <a:gd name="connsiteY56" fmla="*/ 3077379 h 5538650"/>
              <a:gd name="connsiteX57" fmla="*/ 5206769 w 12192000"/>
              <a:gd name="connsiteY57" fmla="*/ 5538650 h 5538650"/>
              <a:gd name="connsiteX58" fmla="*/ 5168362 w 12192000"/>
              <a:gd name="connsiteY58" fmla="*/ 5538650 h 5538650"/>
              <a:gd name="connsiteX59" fmla="*/ 0 w 12192000"/>
              <a:gd name="connsiteY59" fmla="*/ 3093896 h 5538650"/>
              <a:gd name="connsiteX60" fmla="*/ 12192000 w 12192000"/>
              <a:gd name="connsiteY60" fmla="*/ 3076929 h 5538650"/>
              <a:gd name="connsiteX61" fmla="*/ 12192000 w 12192000"/>
              <a:gd name="connsiteY61" fmla="*/ 3093447 h 5538650"/>
              <a:gd name="connsiteX62" fmla="*/ 7022692 w 12192000"/>
              <a:gd name="connsiteY62" fmla="*/ 5538650 h 5538650"/>
              <a:gd name="connsiteX63" fmla="*/ 6984285 w 12192000"/>
              <a:gd name="connsiteY63" fmla="*/ 5538650 h 5538650"/>
              <a:gd name="connsiteX64" fmla="*/ 0 w 12192000"/>
              <a:gd name="connsiteY64" fmla="*/ 2702539 h 5538650"/>
              <a:gd name="connsiteX65" fmla="*/ 5306906 w 12192000"/>
              <a:gd name="connsiteY65" fmla="*/ 5538650 h 5538650"/>
              <a:gd name="connsiteX66" fmla="*/ 5276980 w 12192000"/>
              <a:gd name="connsiteY66" fmla="*/ 5538650 h 5538650"/>
              <a:gd name="connsiteX67" fmla="*/ 0 w 12192000"/>
              <a:gd name="connsiteY67" fmla="*/ 2719272 h 5538650"/>
              <a:gd name="connsiteX68" fmla="*/ 12192000 w 12192000"/>
              <a:gd name="connsiteY68" fmla="*/ 2702031 h 5538650"/>
              <a:gd name="connsiteX69" fmla="*/ 12192000 w 12192000"/>
              <a:gd name="connsiteY69" fmla="*/ 2718765 h 5538650"/>
              <a:gd name="connsiteX70" fmla="*/ 6914075 w 12192000"/>
              <a:gd name="connsiteY70" fmla="*/ 5538650 h 5538650"/>
              <a:gd name="connsiteX71" fmla="*/ 6884146 w 12192000"/>
              <a:gd name="connsiteY71" fmla="*/ 5538650 h 5538650"/>
              <a:gd name="connsiteX72" fmla="*/ 0 w 12192000"/>
              <a:gd name="connsiteY72" fmla="*/ 2306178 h 5538650"/>
              <a:gd name="connsiteX73" fmla="*/ 5393525 w 12192000"/>
              <a:gd name="connsiteY73" fmla="*/ 5538650 h 5538650"/>
              <a:gd name="connsiteX74" fmla="*/ 5362926 w 12192000"/>
              <a:gd name="connsiteY74" fmla="*/ 5538650 h 5538650"/>
              <a:gd name="connsiteX75" fmla="*/ 0 w 12192000"/>
              <a:gd name="connsiteY75" fmla="*/ 2323359 h 5538650"/>
              <a:gd name="connsiteX76" fmla="*/ 12192000 w 12192000"/>
              <a:gd name="connsiteY76" fmla="*/ 2305608 h 5538650"/>
              <a:gd name="connsiteX77" fmla="*/ 12192000 w 12192000"/>
              <a:gd name="connsiteY77" fmla="*/ 2322789 h 5538650"/>
              <a:gd name="connsiteX78" fmla="*/ 6828126 w 12192000"/>
              <a:gd name="connsiteY78" fmla="*/ 5538650 h 5538650"/>
              <a:gd name="connsiteX79" fmla="*/ 6797528 w 12192000"/>
              <a:gd name="connsiteY79" fmla="*/ 5538650 h 5538650"/>
              <a:gd name="connsiteX80" fmla="*/ 0 w 12192000"/>
              <a:gd name="connsiteY80" fmla="*/ 1886298 h 5538650"/>
              <a:gd name="connsiteX81" fmla="*/ 5464823 w 12192000"/>
              <a:gd name="connsiteY81" fmla="*/ 5538650 h 5538650"/>
              <a:gd name="connsiteX82" fmla="*/ 5438585 w 12192000"/>
              <a:gd name="connsiteY82" fmla="*/ 5538650 h 5538650"/>
              <a:gd name="connsiteX83" fmla="*/ 0 w 12192000"/>
              <a:gd name="connsiteY83" fmla="*/ 1905097 h 5538650"/>
              <a:gd name="connsiteX84" fmla="*/ 12192000 w 12192000"/>
              <a:gd name="connsiteY84" fmla="*/ 1885663 h 5538650"/>
              <a:gd name="connsiteX85" fmla="*/ 12192000 w 12192000"/>
              <a:gd name="connsiteY85" fmla="*/ 1904462 h 5538650"/>
              <a:gd name="connsiteX86" fmla="*/ 6752468 w 12192000"/>
              <a:gd name="connsiteY86" fmla="*/ 5538650 h 5538650"/>
              <a:gd name="connsiteX87" fmla="*/ 6726230 w 12192000"/>
              <a:gd name="connsiteY87" fmla="*/ 5538650 h 5538650"/>
              <a:gd name="connsiteX88" fmla="*/ 0 w 12192000"/>
              <a:gd name="connsiteY88" fmla="*/ 1439316 h 5538650"/>
              <a:gd name="connsiteX89" fmla="*/ 5528242 w 12192000"/>
              <a:gd name="connsiteY89" fmla="*/ 5538650 h 5538650"/>
              <a:gd name="connsiteX90" fmla="*/ 5501801 w 12192000"/>
              <a:gd name="connsiteY90" fmla="*/ 5538650 h 5538650"/>
              <a:gd name="connsiteX91" fmla="*/ 0 w 12192000"/>
              <a:gd name="connsiteY91" fmla="*/ 1458129 h 5538650"/>
              <a:gd name="connsiteX92" fmla="*/ 12192000 w 12192000"/>
              <a:gd name="connsiteY92" fmla="*/ 1438611 h 5538650"/>
              <a:gd name="connsiteX93" fmla="*/ 12192000 w 12192000"/>
              <a:gd name="connsiteY93" fmla="*/ 1457424 h 5538650"/>
              <a:gd name="connsiteX94" fmla="*/ 6689252 w 12192000"/>
              <a:gd name="connsiteY94" fmla="*/ 5538650 h 5538650"/>
              <a:gd name="connsiteX95" fmla="*/ 6662810 w 12192000"/>
              <a:gd name="connsiteY95" fmla="*/ 5538650 h 5538650"/>
              <a:gd name="connsiteX96" fmla="*/ 0 w 12192000"/>
              <a:gd name="connsiteY96" fmla="*/ 955098 h 5538650"/>
              <a:gd name="connsiteX97" fmla="*/ 5585473 w 12192000"/>
              <a:gd name="connsiteY97" fmla="*/ 5538650 h 5538650"/>
              <a:gd name="connsiteX98" fmla="*/ 5559044 w 12192000"/>
              <a:gd name="connsiteY98" fmla="*/ 5538650 h 5538650"/>
              <a:gd name="connsiteX99" fmla="*/ 0 w 12192000"/>
              <a:gd name="connsiteY99" fmla="*/ 976103 h 5538650"/>
              <a:gd name="connsiteX100" fmla="*/ 12192000 w 12192000"/>
              <a:gd name="connsiteY100" fmla="*/ 954319 h 5538650"/>
              <a:gd name="connsiteX101" fmla="*/ 12192000 w 12192000"/>
              <a:gd name="connsiteY101" fmla="*/ 975322 h 5538650"/>
              <a:gd name="connsiteX102" fmla="*/ 6632007 w 12192000"/>
              <a:gd name="connsiteY102" fmla="*/ 5538650 h 5538650"/>
              <a:gd name="connsiteX103" fmla="*/ 6605580 w 12192000"/>
              <a:gd name="connsiteY103" fmla="*/ 5538650 h 5538650"/>
              <a:gd name="connsiteX104" fmla="*/ 0 w 12192000"/>
              <a:gd name="connsiteY104" fmla="*/ 431985 h 5538650"/>
              <a:gd name="connsiteX105" fmla="*/ 5633364 w 12192000"/>
              <a:gd name="connsiteY105" fmla="*/ 5538650 h 5538650"/>
              <a:gd name="connsiteX106" fmla="*/ 5611239 w 12192000"/>
              <a:gd name="connsiteY106" fmla="*/ 5538650 h 5538650"/>
              <a:gd name="connsiteX107" fmla="*/ 0 w 12192000"/>
              <a:gd name="connsiteY107" fmla="*/ 454672 h 5538650"/>
              <a:gd name="connsiteX108" fmla="*/ 12192000 w 12192000"/>
              <a:gd name="connsiteY108" fmla="*/ 431124 h 5538650"/>
              <a:gd name="connsiteX109" fmla="*/ 12192000 w 12192000"/>
              <a:gd name="connsiteY109" fmla="*/ 453812 h 5538650"/>
              <a:gd name="connsiteX110" fmla="*/ 6579814 w 12192000"/>
              <a:gd name="connsiteY110" fmla="*/ 5538650 h 5538650"/>
              <a:gd name="connsiteX111" fmla="*/ 6557689 w 12192000"/>
              <a:gd name="connsiteY111" fmla="*/ 5538650 h 5538650"/>
              <a:gd name="connsiteX112" fmla="*/ 12053367 w 12192000"/>
              <a:gd name="connsiteY112" fmla="*/ 0 h 5538650"/>
              <a:gd name="connsiteX113" fmla="*/ 12074285 w 12192000"/>
              <a:gd name="connsiteY113" fmla="*/ 0 h 5538650"/>
              <a:gd name="connsiteX114" fmla="*/ 6535635 w 12192000"/>
              <a:gd name="connsiteY114" fmla="*/ 5538650 h 5538650"/>
              <a:gd name="connsiteX115" fmla="*/ 6514718 w 12192000"/>
              <a:gd name="connsiteY115" fmla="*/ 5538650 h 5538650"/>
              <a:gd name="connsiteX116" fmla="*/ 11493886 w 12192000"/>
              <a:gd name="connsiteY116" fmla="*/ 0 h 5538650"/>
              <a:gd name="connsiteX117" fmla="*/ 11516512 w 12192000"/>
              <a:gd name="connsiteY117" fmla="*/ 0 h 5538650"/>
              <a:gd name="connsiteX118" fmla="*/ 6495704 w 12192000"/>
              <a:gd name="connsiteY118" fmla="*/ 5538650 h 5538650"/>
              <a:gd name="connsiteX119" fmla="*/ 6475677 w 12192000"/>
              <a:gd name="connsiteY119" fmla="*/ 5538650 h 5538650"/>
              <a:gd name="connsiteX120" fmla="*/ 10983307 w 12192000"/>
              <a:gd name="connsiteY120" fmla="*/ 0 h 5538650"/>
              <a:gd name="connsiteX121" fmla="*/ 11004326 w 12192000"/>
              <a:gd name="connsiteY121" fmla="*/ 0 h 5538650"/>
              <a:gd name="connsiteX122" fmla="*/ 6459200 w 12192000"/>
              <a:gd name="connsiteY122" fmla="*/ 5538650 h 5538650"/>
              <a:gd name="connsiteX123" fmla="*/ 6437499 w 12192000"/>
              <a:gd name="connsiteY123" fmla="*/ 5538650 h 5538650"/>
              <a:gd name="connsiteX124" fmla="*/ 10511339 w 12192000"/>
              <a:gd name="connsiteY124" fmla="*/ 0 h 5538650"/>
              <a:gd name="connsiteX125" fmla="*/ 10530171 w 12192000"/>
              <a:gd name="connsiteY125" fmla="*/ 0 h 5538650"/>
              <a:gd name="connsiteX126" fmla="*/ 6423121 w 12192000"/>
              <a:gd name="connsiteY126" fmla="*/ 5538650 h 5538650"/>
              <a:gd name="connsiteX127" fmla="*/ 6403488 w 12192000"/>
              <a:gd name="connsiteY127" fmla="*/ 5538650 h 5538650"/>
              <a:gd name="connsiteX128" fmla="*/ 10073731 w 12192000"/>
              <a:gd name="connsiteY128" fmla="*/ 0 h 5538650"/>
              <a:gd name="connsiteX129" fmla="*/ 10092501 w 12192000"/>
              <a:gd name="connsiteY129" fmla="*/ 0 h 5538650"/>
              <a:gd name="connsiteX130" fmla="*/ 6390805 w 12192000"/>
              <a:gd name="connsiteY130" fmla="*/ 5538650 h 5538650"/>
              <a:gd name="connsiteX131" fmla="*/ 6373323 w 12192000"/>
              <a:gd name="connsiteY131" fmla="*/ 5538650 h 5538650"/>
              <a:gd name="connsiteX132" fmla="*/ 9664192 w 12192000"/>
              <a:gd name="connsiteY132" fmla="*/ 0 h 5538650"/>
              <a:gd name="connsiteX133" fmla="*/ 9681401 w 12192000"/>
              <a:gd name="connsiteY133" fmla="*/ 0 h 5538650"/>
              <a:gd name="connsiteX134" fmla="*/ 6361951 w 12192000"/>
              <a:gd name="connsiteY134" fmla="*/ 5538650 h 5538650"/>
              <a:gd name="connsiteX135" fmla="*/ 6343546 w 12192000"/>
              <a:gd name="connsiteY135" fmla="*/ 5538650 h 5538650"/>
              <a:gd name="connsiteX136" fmla="*/ 9276175 w 12192000"/>
              <a:gd name="connsiteY136" fmla="*/ 0 h 5538650"/>
              <a:gd name="connsiteX137" fmla="*/ 9293298 w 12192000"/>
              <a:gd name="connsiteY137" fmla="*/ 0 h 5538650"/>
              <a:gd name="connsiteX138" fmla="*/ 6333336 w 12192000"/>
              <a:gd name="connsiteY138" fmla="*/ 5538650 h 5538650"/>
              <a:gd name="connsiteX139" fmla="*/ 6315537 w 12192000"/>
              <a:gd name="connsiteY139" fmla="*/ 5538650 h 5538650"/>
              <a:gd name="connsiteX140" fmla="*/ 8909752 w 12192000"/>
              <a:gd name="connsiteY140" fmla="*/ 0 h 5538650"/>
              <a:gd name="connsiteX141" fmla="*/ 8925866 w 12192000"/>
              <a:gd name="connsiteY141" fmla="*/ 0 h 5538650"/>
              <a:gd name="connsiteX142" fmla="*/ 6306292 w 12192000"/>
              <a:gd name="connsiteY142" fmla="*/ 5538650 h 5538650"/>
              <a:gd name="connsiteX143" fmla="*/ 6289844 w 12192000"/>
              <a:gd name="connsiteY143" fmla="*/ 5538650 h 5538650"/>
              <a:gd name="connsiteX144" fmla="*/ 8559841 w 12192000"/>
              <a:gd name="connsiteY144" fmla="*/ 0 h 5538650"/>
              <a:gd name="connsiteX145" fmla="*/ 8575337 w 12192000"/>
              <a:gd name="connsiteY145" fmla="*/ 0 h 5538650"/>
              <a:gd name="connsiteX146" fmla="*/ 6281400 w 12192000"/>
              <a:gd name="connsiteY146" fmla="*/ 5538650 h 5538650"/>
              <a:gd name="connsiteX147" fmla="*/ 6264803 w 12192000"/>
              <a:gd name="connsiteY147" fmla="*/ 5538650 h 5538650"/>
              <a:gd name="connsiteX148" fmla="*/ 8222650 w 12192000"/>
              <a:gd name="connsiteY148" fmla="*/ 0 h 5538650"/>
              <a:gd name="connsiteX149" fmla="*/ 8237900 w 12192000"/>
              <a:gd name="connsiteY149" fmla="*/ 0 h 5538650"/>
              <a:gd name="connsiteX150" fmla="*/ 6256989 w 12192000"/>
              <a:gd name="connsiteY150" fmla="*/ 5538650 h 5538650"/>
              <a:gd name="connsiteX151" fmla="*/ 6239450 w 12192000"/>
              <a:gd name="connsiteY151" fmla="*/ 5538650 h 5538650"/>
              <a:gd name="connsiteX152" fmla="*/ 7897363 w 12192000"/>
              <a:gd name="connsiteY152" fmla="*/ 0 h 5538650"/>
              <a:gd name="connsiteX153" fmla="*/ 7912859 w 12192000"/>
              <a:gd name="connsiteY153" fmla="*/ 0 h 5538650"/>
              <a:gd name="connsiteX154" fmla="*/ 6232286 w 12192000"/>
              <a:gd name="connsiteY154" fmla="*/ 5538650 h 5538650"/>
              <a:gd name="connsiteX155" fmla="*/ 6216587 w 12192000"/>
              <a:gd name="connsiteY155" fmla="*/ 5538650 h 5538650"/>
              <a:gd name="connsiteX156" fmla="*/ 7581679 w 12192000"/>
              <a:gd name="connsiteY156" fmla="*/ 0 h 5538650"/>
              <a:gd name="connsiteX157" fmla="*/ 7597201 w 12192000"/>
              <a:gd name="connsiteY157" fmla="*/ 0 h 5538650"/>
              <a:gd name="connsiteX158" fmla="*/ 6209892 w 12192000"/>
              <a:gd name="connsiteY158" fmla="*/ 5538650 h 5538650"/>
              <a:gd name="connsiteX159" fmla="*/ 6194207 w 12192000"/>
              <a:gd name="connsiteY159" fmla="*/ 5538650 h 5538650"/>
              <a:gd name="connsiteX160" fmla="*/ 7274063 w 12192000"/>
              <a:gd name="connsiteY160" fmla="*/ 0 h 5538650"/>
              <a:gd name="connsiteX161" fmla="*/ 7290165 w 12192000"/>
              <a:gd name="connsiteY161" fmla="*/ 0 h 5538650"/>
              <a:gd name="connsiteX162" fmla="*/ 6187801 w 12192000"/>
              <a:gd name="connsiteY162" fmla="*/ 5538650 h 5538650"/>
              <a:gd name="connsiteX163" fmla="*/ 6171830 w 12192000"/>
              <a:gd name="connsiteY163" fmla="*/ 5538650 h 5538650"/>
              <a:gd name="connsiteX164" fmla="*/ 6973046 w 12192000"/>
              <a:gd name="connsiteY164" fmla="*/ 0 h 5538650"/>
              <a:gd name="connsiteX165" fmla="*/ 6988294 w 12192000"/>
              <a:gd name="connsiteY165" fmla="*/ 0 h 5538650"/>
              <a:gd name="connsiteX166" fmla="*/ 6165737 w 12192000"/>
              <a:gd name="connsiteY166" fmla="*/ 5538650 h 5538650"/>
              <a:gd name="connsiteX167" fmla="*/ 6151040 w 12192000"/>
              <a:gd name="connsiteY167" fmla="*/ 5538650 h 5538650"/>
              <a:gd name="connsiteX168" fmla="*/ 6675307 w 12192000"/>
              <a:gd name="connsiteY168" fmla="*/ 0 h 5538650"/>
              <a:gd name="connsiteX169" fmla="*/ 6690046 w 12192000"/>
              <a:gd name="connsiteY169" fmla="*/ 0 h 5538650"/>
              <a:gd name="connsiteX170" fmla="*/ 6145146 w 12192000"/>
              <a:gd name="connsiteY170" fmla="*/ 5538650 h 5538650"/>
              <a:gd name="connsiteX171" fmla="*/ 6129760 w 12192000"/>
              <a:gd name="connsiteY171" fmla="*/ 5538650 h 5538650"/>
              <a:gd name="connsiteX172" fmla="*/ 6379954 w 12192000"/>
              <a:gd name="connsiteY172" fmla="*/ 0 h 5538650"/>
              <a:gd name="connsiteX173" fmla="*/ 6396479 w 12192000"/>
              <a:gd name="connsiteY173" fmla="*/ 0 h 5538650"/>
              <a:gd name="connsiteX174" fmla="*/ 6124045 w 12192000"/>
              <a:gd name="connsiteY174" fmla="*/ 5538650 h 5538650"/>
              <a:gd name="connsiteX175" fmla="*/ 6108806 w 12192000"/>
              <a:gd name="connsiteY175" fmla="*/ 5538650 h 5538650"/>
              <a:gd name="connsiteX176" fmla="*/ 6087918 w 12192000"/>
              <a:gd name="connsiteY176" fmla="*/ 0 h 5538650"/>
              <a:gd name="connsiteX177" fmla="*/ 6103132 w 12192000"/>
              <a:gd name="connsiteY177" fmla="*/ 0 h 5538650"/>
              <a:gd name="connsiteX178" fmla="*/ 6103132 w 12192000"/>
              <a:gd name="connsiteY178" fmla="*/ 5538650 h 5538650"/>
              <a:gd name="connsiteX179" fmla="*/ 6087918 w 12192000"/>
              <a:gd name="connsiteY179" fmla="*/ 5538650 h 5538650"/>
              <a:gd name="connsiteX180" fmla="*/ 5794572 w 12192000"/>
              <a:gd name="connsiteY180" fmla="*/ 0 h 5538650"/>
              <a:gd name="connsiteX181" fmla="*/ 5811095 w 12192000"/>
              <a:gd name="connsiteY181" fmla="*/ 0 h 5538650"/>
              <a:gd name="connsiteX182" fmla="*/ 6082245 w 12192000"/>
              <a:gd name="connsiteY182" fmla="*/ 5538650 h 5538650"/>
              <a:gd name="connsiteX183" fmla="*/ 6067007 w 12192000"/>
              <a:gd name="connsiteY183" fmla="*/ 5538650 h 5538650"/>
              <a:gd name="connsiteX184" fmla="*/ 5501006 w 12192000"/>
              <a:gd name="connsiteY184" fmla="*/ 0 h 5538650"/>
              <a:gd name="connsiteX185" fmla="*/ 5515746 w 12192000"/>
              <a:gd name="connsiteY185" fmla="*/ 0 h 5538650"/>
              <a:gd name="connsiteX186" fmla="*/ 6061292 w 12192000"/>
              <a:gd name="connsiteY186" fmla="*/ 5538650 h 5538650"/>
              <a:gd name="connsiteX187" fmla="*/ 6045905 w 12192000"/>
              <a:gd name="connsiteY187" fmla="*/ 5538650 h 5538650"/>
              <a:gd name="connsiteX188" fmla="*/ 5202758 w 12192000"/>
              <a:gd name="connsiteY188" fmla="*/ 0 h 5538650"/>
              <a:gd name="connsiteX189" fmla="*/ 5218008 w 12192000"/>
              <a:gd name="connsiteY189" fmla="*/ 0 h 5538650"/>
              <a:gd name="connsiteX190" fmla="*/ 6040011 w 12192000"/>
              <a:gd name="connsiteY190" fmla="*/ 5538650 h 5538650"/>
              <a:gd name="connsiteX191" fmla="*/ 6025314 w 12192000"/>
              <a:gd name="connsiteY191" fmla="*/ 5538650 h 5538650"/>
              <a:gd name="connsiteX192" fmla="*/ 4900888 w 12192000"/>
              <a:gd name="connsiteY192" fmla="*/ 0 h 5538650"/>
              <a:gd name="connsiteX193" fmla="*/ 4916988 w 12192000"/>
              <a:gd name="connsiteY193" fmla="*/ 0 h 5538650"/>
              <a:gd name="connsiteX194" fmla="*/ 6019222 w 12192000"/>
              <a:gd name="connsiteY194" fmla="*/ 5538650 h 5538650"/>
              <a:gd name="connsiteX195" fmla="*/ 6003250 w 12192000"/>
              <a:gd name="connsiteY195" fmla="*/ 5538650 h 5538650"/>
              <a:gd name="connsiteX196" fmla="*/ 4593851 w 12192000"/>
              <a:gd name="connsiteY196" fmla="*/ 0 h 5538650"/>
              <a:gd name="connsiteX197" fmla="*/ 4609374 w 12192000"/>
              <a:gd name="connsiteY197" fmla="*/ 0 h 5538650"/>
              <a:gd name="connsiteX198" fmla="*/ 5996844 w 12192000"/>
              <a:gd name="connsiteY198" fmla="*/ 5538650 h 5538650"/>
              <a:gd name="connsiteX199" fmla="*/ 5981160 w 12192000"/>
              <a:gd name="connsiteY199" fmla="*/ 5538650 h 5538650"/>
              <a:gd name="connsiteX200" fmla="*/ 4278194 w 12192000"/>
              <a:gd name="connsiteY200" fmla="*/ 0 h 5538650"/>
              <a:gd name="connsiteX201" fmla="*/ 4293688 w 12192000"/>
              <a:gd name="connsiteY201" fmla="*/ 0 h 5538650"/>
              <a:gd name="connsiteX202" fmla="*/ 5974465 w 12192000"/>
              <a:gd name="connsiteY202" fmla="*/ 5538650 h 5538650"/>
              <a:gd name="connsiteX203" fmla="*/ 5958765 w 12192000"/>
              <a:gd name="connsiteY203" fmla="*/ 5538650 h 5538650"/>
              <a:gd name="connsiteX204" fmla="*/ 3953150 w 12192000"/>
              <a:gd name="connsiteY204" fmla="*/ 0 h 5538650"/>
              <a:gd name="connsiteX205" fmla="*/ 3968400 w 12192000"/>
              <a:gd name="connsiteY205" fmla="*/ 0 h 5538650"/>
              <a:gd name="connsiteX206" fmla="*/ 5951601 w 12192000"/>
              <a:gd name="connsiteY206" fmla="*/ 5538650 h 5538650"/>
              <a:gd name="connsiteX207" fmla="*/ 5934062 w 12192000"/>
              <a:gd name="connsiteY207" fmla="*/ 5538650 h 5538650"/>
              <a:gd name="connsiteX208" fmla="*/ 3615713 w 12192000"/>
              <a:gd name="connsiteY208" fmla="*/ 0 h 5538650"/>
              <a:gd name="connsiteX209" fmla="*/ 3631209 w 12192000"/>
              <a:gd name="connsiteY209" fmla="*/ 0 h 5538650"/>
              <a:gd name="connsiteX210" fmla="*/ 5926249 w 12192000"/>
              <a:gd name="connsiteY210" fmla="*/ 5538650 h 5538650"/>
              <a:gd name="connsiteX211" fmla="*/ 5909651 w 12192000"/>
              <a:gd name="connsiteY211" fmla="*/ 5538650 h 5538650"/>
              <a:gd name="connsiteX212" fmla="*/ 3264742 w 12192000"/>
              <a:gd name="connsiteY212" fmla="*/ 0 h 5538650"/>
              <a:gd name="connsiteX213" fmla="*/ 3281299 w 12192000"/>
              <a:gd name="connsiteY213" fmla="*/ 0 h 5538650"/>
              <a:gd name="connsiteX214" fmla="*/ 5901207 w 12192000"/>
              <a:gd name="connsiteY214" fmla="*/ 5538650 h 5538650"/>
              <a:gd name="connsiteX215" fmla="*/ 5882897 w 12192000"/>
              <a:gd name="connsiteY215" fmla="*/ 5538650 h 5538650"/>
              <a:gd name="connsiteX216" fmla="*/ 2897752 w 12192000"/>
              <a:gd name="connsiteY216" fmla="*/ 0 h 5538650"/>
              <a:gd name="connsiteX217" fmla="*/ 2914469 w 12192000"/>
              <a:gd name="connsiteY217" fmla="*/ 0 h 5538650"/>
              <a:gd name="connsiteX218" fmla="*/ 5873653 w 12192000"/>
              <a:gd name="connsiteY218" fmla="*/ 5538650 h 5538650"/>
              <a:gd name="connsiteX219" fmla="*/ 5857716 w 12192000"/>
              <a:gd name="connsiteY219" fmla="*/ 5538650 h 5538650"/>
              <a:gd name="connsiteX220" fmla="*/ 2509648 w 12192000"/>
              <a:gd name="connsiteY220" fmla="*/ 0 h 5538650"/>
              <a:gd name="connsiteX221" fmla="*/ 2526858 w 12192000"/>
              <a:gd name="connsiteY221" fmla="*/ 0 h 5538650"/>
              <a:gd name="connsiteX222" fmla="*/ 5847506 w 12192000"/>
              <a:gd name="connsiteY222" fmla="*/ 5538650 h 5538650"/>
              <a:gd name="connsiteX223" fmla="*/ 5829100 w 12192000"/>
              <a:gd name="connsiteY223" fmla="*/ 5538650 h 5538650"/>
              <a:gd name="connsiteX224" fmla="*/ 2098550 w 12192000"/>
              <a:gd name="connsiteY224" fmla="*/ 0 h 5538650"/>
              <a:gd name="connsiteX225" fmla="*/ 2117319 w 12192000"/>
              <a:gd name="connsiteY225" fmla="*/ 0 h 5538650"/>
              <a:gd name="connsiteX226" fmla="*/ 5817728 w 12192000"/>
              <a:gd name="connsiteY226" fmla="*/ 5538650 h 5538650"/>
              <a:gd name="connsiteX227" fmla="*/ 5800246 w 12192000"/>
              <a:gd name="connsiteY227" fmla="*/ 5538650 h 5538650"/>
              <a:gd name="connsiteX228" fmla="*/ 1660880 w 12192000"/>
              <a:gd name="connsiteY228" fmla="*/ 0 h 5538650"/>
              <a:gd name="connsiteX229" fmla="*/ 1679710 w 12192000"/>
              <a:gd name="connsiteY229" fmla="*/ 0 h 5538650"/>
              <a:gd name="connsiteX230" fmla="*/ 5787564 w 12192000"/>
              <a:gd name="connsiteY230" fmla="*/ 5538650 h 5538650"/>
              <a:gd name="connsiteX231" fmla="*/ 5767933 w 12192000"/>
              <a:gd name="connsiteY231" fmla="*/ 5538650 h 5538650"/>
              <a:gd name="connsiteX232" fmla="*/ 1186725 w 12192000"/>
              <a:gd name="connsiteY232" fmla="*/ 0 h 5538650"/>
              <a:gd name="connsiteX233" fmla="*/ 1207744 w 12192000"/>
              <a:gd name="connsiteY233" fmla="*/ 0 h 5538650"/>
              <a:gd name="connsiteX234" fmla="*/ 5753555 w 12192000"/>
              <a:gd name="connsiteY234" fmla="*/ 5538650 h 5538650"/>
              <a:gd name="connsiteX235" fmla="*/ 5731855 w 12192000"/>
              <a:gd name="connsiteY235" fmla="*/ 5538650 h 5538650"/>
              <a:gd name="connsiteX236" fmla="*/ 674537 w 12192000"/>
              <a:gd name="connsiteY236" fmla="*/ 0 h 5538650"/>
              <a:gd name="connsiteX237" fmla="*/ 697166 w 12192000"/>
              <a:gd name="connsiteY237" fmla="*/ 0 h 5538650"/>
              <a:gd name="connsiteX238" fmla="*/ 5715377 w 12192000"/>
              <a:gd name="connsiteY238" fmla="*/ 5538650 h 5538650"/>
              <a:gd name="connsiteX239" fmla="*/ 5695348 w 12192000"/>
              <a:gd name="connsiteY239" fmla="*/ 5538650 h 5538650"/>
              <a:gd name="connsiteX240" fmla="*/ 116766 w 12192000"/>
              <a:gd name="connsiteY240" fmla="*/ 0 h 5538650"/>
              <a:gd name="connsiteX241" fmla="*/ 137682 w 12192000"/>
              <a:gd name="connsiteY241" fmla="*/ 0 h 5538650"/>
              <a:gd name="connsiteX242" fmla="*/ 5676334 w 12192000"/>
              <a:gd name="connsiteY242" fmla="*/ 5538650 h 5538650"/>
              <a:gd name="connsiteX243" fmla="*/ 5655418 w 12192000"/>
              <a:gd name="connsiteY243" fmla="*/ 5538650 h 553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</a:cxnLst>
            <a:rect l="l" t="t" r="r" b="b"/>
            <a:pathLst>
              <a:path w="12192000" h="5538650">
                <a:moveTo>
                  <a:pt x="0" y="5361265"/>
                </a:moveTo>
                <a:lnTo>
                  <a:pt x="1803035" y="5538650"/>
                </a:lnTo>
                <a:lnTo>
                  <a:pt x="1651395" y="5538650"/>
                </a:lnTo>
                <a:lnTo>
                  <a:pt x="0" y="5375991"/>
                </a:lnTo>
                <a:close/>
                <a:moveTo>
                  <a:pt x="12192000" y="5361172"/>
                </a:moveTo>
                <a:lnTo>
                  <a:pt x="12192000" y="5375897"/>
                </a:lnTo>
                <a:lnTo>
                  <a:pt x="10539653" y="5538650"/>
                </a:lnTo>
                <a:lnTo>
                  <a:pt x="10388020" y="5538650"/>
                </a:lnTo>
                <a:close/>
                <a:moveTo>
                  <a:pt x="0" y="5056639"/>
                </a:moveTo>
                <a:lnTo>
                  <a:pt x="3245598" y="5538650"/>
                </a:lnTo>
                <a:lnTo>
                  <a:pt x="3144944" y="5538650"/>
                </a:lnTo>
                <a:lnTo>
                  <a:pt x="0" y="5071901"/>
                </a:lnTo>
                <a:close/>
                <a:moveTo>
                  <a:pt x="12192000" y="5056498"/>
                </a:moveTo>
                <a:lnTo>
                  <a:pt x="12192000" y="5071760"/>
                </a:lnTo>
                <a:lnTo>
                  <a:pt x="9046109" y="5538650"/>
                </a:lnTo>
                <a:lnTo>
                  <a:pt x="8945453" y="5538650"/>
                </a:lnTo>
                <a:close/>
                <a:moveTo>
                  <a:pt x="0" y="4748340"/>
                </a:moveTo>
                <a:lnTo>
                  <a:pt x="3970783" y="5538650"/>
                </a:lnTo>
                <a:lnTo>
                  <a:pt x="3890323" y="5538650"/>
                </a:lnTo>
                <a:lnTo>
                  <a:pt x="0" y="4764446"/>
                </a:lnTo>
                <a:close/>
                <a:moveTo>
                  <a:pt x="12192000" y="4748152"/>
                </a:moveTo>
                <a:lnTo>
                  <a:pt x="12192000" y="4764257"/>
                </a:lnTo>
                <a:lnTo>
                  <a:pt x="8300729" y="5538650"/>
                </a:lnTo>
                <a:lnTo>
                  <a:pt x="8220271" y="5538650"/>
                </a:lnTo>
                <a:close/>
                <a:moveTo>
                  <a:pt x="0" y="4434761"/>
                </a:moveTo>
                <a:lnTo>
                  <a:pt x="4407134" y="5538650"/>
                </a:lnTo>
                <a:lnTo>
                  <a:pt x="4344675" y="5538650"/>
                </a:lnTo>
                <a:lnTo>
                  <a:pt x="0" y="4450278"/>
                </a:lnTo>
                <a:close/>
                <a:moveTo>
                  <a:pt x="12192000" y="4434523"/>
                </a:moveTo>
                <a:lnTo>
                  <a:pt x="12192000" y="4450039"/>
                </a:lnTo>
                <a:lnTo>
                  <a:pt x="7846376" y="5538650"/>
                </a:lnTo>
                <a:lnTo>
                  <a:pt x="7783917" y="5538650"/>
                </a:lnTo>
                <a:close/>
                <a:moveTo>
                  <a:pt x="0" y="4112365"/>
                </a:moveTo>
                <a:lnTo>
                  <a:pt x="4700598" y="5538650"/>
                </a:lnTo>
                <a:lnTo>
                  <a:pt x="4648976" y="5538650"/>
                </a:lnTo>
                <a:lnTo>
                  <a:pt x="0" y="4127856"/>
                </a:lnTo>
                <a:close/>
                <a:moveTo>
                  <a:pt x="12192000" y="4111926"/>
                </a:moveTo>
                <a:lnTo>
                  <a:pt x="12192000" y="4127568"/>
                </a:lnTo>
                <a:lnTo>
                  <a:pt x="7542076" y="5538650"/>
                </a:lnTo>
                <a:lnTo>
                  <a:pt x="7488819" y="5538650"/>
                </a:lnTo>
                <a:close/>
                <a:moveTo>
                  <a:pt x="0" y="3780425"/>
                </a:moveTo>
                <a:lnTo>
                  <a:pt x="4916015" y="5538650"/>
                </a:lnTo>
                <a:lnTo>
                  <a:pt x="4867902" y="5538650"/>
                </a:lnTo>
                <a:lnTo>
                  <a:pt x="0" y="3795622"/>
                </a:lnTo>
                <a:close/>
                <a:moveTo>
                  <a:pt x="12192000" y="3780085"/>
                </a:moveTo>
                <a:lnTo>
                  <a:pt x="12192000" y="3794601"/>
                </a:lnTo>
                <a:lnTo>
                  <a:pt x="7321249" y="5538650"/>
                </a:lnTo>
                <a:lnTo>
                  <a:pt x="7275037" y="5538650"/>
                </a:lnTo>
                <a:close/>
                <a:moveTo>
                  <a:pt x="0" y="3435799"/>
                </a:moveTo>
                <a:lnTo>
                  <a:pt x="5077278" y="5538650"/>
                </a:lnTo>
                <a:lnTo>
                  <a:pt x="5037506" y="5538650"/>
                </a:lnTo>
                <a:lnTo>
                  <a:pt x="0" y="3451269"/>
                </a:lnTo>
                <a:close/>
                <a:moveTo>
                  <a:pt x="12192000" y="3435405"/>
                </a:moveTo>
                <a:lnTo>
                  <a:pt x="12192000" y="3450875"/>
                </a:lnTo>
                <a:lnTo>
                  <a:pt x="7153546" y="5538650"/>
                </a:lnTo>
                <a:lnTo>
                  <a:pt x="7113776" y="5538650"/>
                </a:lnTo>
                <a:close/>
                <a:moveTo>
                  <a:pt x="0" y="3077379"/>
                </a:moveTo>
                <a:lnTo>
                  <a:pt x="5206769" y="5538650"/>
                </a:lnTo>
                <a:lnTo>
                  <a:pt x="5168362" y="5538650"/>
                </a:lnTo>
                <a:lnTo>
                  <a:pt x="0" y="3093896"/>
                </a:lnTo>
                <a:close/>
                <a:moveTo>
                  <a:pt x="12192000" y="3076929"/>
                </a:moveTo>
                <a:lnTo>
                  <a:pt x="12192000" y="3093447"/>
                </a:lnTo>
                <a:lnTo>
                  <a:pt x="7022692" y="5538650"/>
                </a:lnTo>
                <a:lnTo>
                  <a:pt x="6984285" y="5538650"/>
                </a:lnTo>
                <a:close/>
                <a:moveTo>
                  <a:pt x="0" y="2702539"/>
                </a:moveTo>
                <a:lnTo>
                  <a:pt x="5306906" y="5538650"/>
                </a:lnTo>
                <a:lnTo>
                  <a:pt x="5276980" y="5538650"/>
                </a:lnTo>
                <a:lnTo>
                  <a:pt x="0" y="2719272"/>
                </a:lnTo>
                <a:close/>
                <a:moveTo>
                  <a:pt x="12192000" y="2702031"/>
                </a:moveTo>
                <a:lnTo>
                  <a:pt x="12192000" y="2718765"/>
                </a:lnTo>
                <a:lnTo>
                  <a:pt x="6914075" y="5538650"/>
                </a:lnTo>
                <a:lnTo>
                  <a:pt x="6884146" y="5538650"/>
                </a:lnTo>
                <a:close/>
                <a:moveTo>
                  <a:pt x="0" y="2306178"/>
                </a:moveTo>
                <a:lnTo>
                  <a:pt x="5393525" y="5538650"/>
                </a:lnTo>
                <a:lnTo>
                  <a:pt x="5362926" y="5538650"/>
                </a:lnTo>
                <a:lnTo>
                  <a:pt x="0" y="2323359"/>
                </a:lnTo>
                <a:close/>
                <a:moveTo>
                  <a:pt x="12192000" y="2305608"/>
                </a:moveTo>
                <a:lnTo>
                  <a:pt x="12192000" y="2322789"/>
                </a:lnTo>
                <a:lnTo>
                  <a:pt x="6828126" y="5538650"/>
                </a:lnTo>
                <a:lnTo>
                  <a:pt x="6797528" y="5538650"/>
                </a:lnTo>
                <a:close/>
                <a:moveTo>
                  <a:pt x="0" y="1886298"/>
                </a:moveTo>
                <a:lnTo>
                  <a:pt x="5464823" y="5538650"/>
                </a:lnTo>
                <a:lnTo>
                  <a:pt x="5438585" y="5538650"/>
                </a:lnTo>
                <a:lnTo>
                  <a:pt x="0" y="1905097"/>
                </a:lnTo>
                <a:close/>
                <a:moveTo>
                  <a:pt x="12192000" y="1885663"/>
                </a:moveTo>
                <a:lnTo>
                  <a:pt x="12192000" y="1904462"/>
                </a:lnTo>
                <a:lnTo>
                  <a:pt x="6752468" y="5538650"/>
                </a:lnTo>
                <a:lnTo>
                  <a:pt x="6726230" y="5538650"/>
                </a:lnTo>
                <a:close/>
                <a:moveTo>
                  <a:pt x="0" y="1439316"/>
                </a:moveTo>
                <a:lnTo>
                  <a:pt x="5528242" y="5538650"/>
                </a:lnTo>
                <a:lnTo>
                  <a:pt x="5501801" y="5538650"/>
                </a:lnTo>
                <a:lnTo>
                  <a:pt x="0" y="1458129"/>
                </a:lnTo>
                <a:close/>
                <a:moveTo>
                  <a:pt x="12192000" y="1438611"/>
                </a:moveTo>
                <a:lnTo>
                  <a:pt x="12192000" y="1457424"/>
                </a:lnTo>
                <a:lnTo>
                  <a:pt x="6689252" y="5538650"/>
                </a:lnTo>
                <a:lnTo>
                  <a:pt x="6662810" y="5538650"/>
                </a:lnTo>
                <a:close/>
                <a:moveTo>
                  <a:pt x="0" y="955098"/>
                </a:moveTo>
                <a:lnTo>
                  <a:pt x="5585473" y="5538650"/>
                </a:lnTo>
                <a:lnTo>
                  <a:pt x="5559044" y="5538650"/>
                </a:lnTo>
                <a:lnTo>
                  <a:pt x="0" y="976103"/>
                </a:lnTo>
                <a:close/>
                <a:moveTo>
                  <a:pt x="12192000" y="954319"/>
                </a:moveTo>
                <a:lnTo>
                  <a:pt x="12192000" y="975322"/>
                </a:lnTo>
                <a:lnTo>
                  <a:pt x="6632007" y="5538650"/>
                </a:lnTo>
                <a:lnTo>
                  <a:pt x="6605580" y="5538650"/>
                </a:lnTo>
                <a:close/>
                <a:moveTo>
                  <a:pt x="0" y="431985"/>
                </a:moveTo>
                <a:lnTo>
                  <a:pt x="5633364" y="5538650"/>
                </a:lnTo>
                <a:lnTo>
                  <a:pt x="5611239" y="5538650"/>
                </a:lnTo>
                <a:lnTo>
                  <a:pt x="0" y="454672"/>
                </a:lnTo>
                <a:close/>
                <a:moveTo>
                  <a:pt x="12192000" y="431124"/>
                </a:moveTo>
                <a:lnTo>
                  <a:pt x="12192000" y="453812"/>
                </a:lnTo>
                <a:lnTo>
                  <a:pt x="6579814" y="5538650"/>
                </a:lnTo>
                <a:lnTo>
                  <a:pt x="6557689" y="5538650"/>
                </a:lnTo>
                <a:close/>
                <a:moveTo>
                  <a:pt x="12053367" y="0"/>
                </a:moveTo>
                <a:lnTo>
                  <a:pt x="12074285" y="0"/>
                </a:lnTo>
                <a:lnTo>
                  <a:pt x="6535635" y="5538650"/>
                </a:lnTo>
                <a:lnTo>
                  <a:pt x="6514718" y="5538650"/>
                </a:lnTo>
                <a:close/>
                <a:moveTo>
                  <a:pt x="11493886" y="0"/>
                </a:moveTo>
                <a:lnTo>
                  <a:pt x="11516512" y="0"/>
                </a:lnTo>
                <a:lnTo>
                  <a:pt x="6495704" y="5538650"/>
                </a:lnTo>
                <a:lnTo>
                  <a:pt x="6475677" y="5538650"/>
                </a:lnTo>
                <a:close/>
                <a:moveTo>
                  <a:pt x="10983307" y="0"/>
                </a:moveTo>
                <a:lnTo>
                  <a:pt x="11004326" y="0"/>
                </a:lnTo>
                <a:lnTo>
                  <a:pt x="6459200" y="5538650"/>
                </a:lnTo>
                <a:lnTo>
                  <a:pt x="6437499" y="5538650"/>
                </a:lnTo>
                <a:close/>
                <a:moveTo>
                  <a:pt x="10511339" y="0"/>
                </a:moveTo>
                <a:lnTo>
                  <a:pt x="10530171" y="0"/>
                </a:lnTo>
                <a:lnTo>
                  <a:pt x="6423121" y="5538650"/>
                </a:lnTo>
                <a:lnTo>
                  <a:pt x="6403488" y="5538650"/>
                </a:lnTo>
                <a:close/>
                <a:moveTo>
                  <a:pt x="10073731" y="0"/>
                </a:moveTo>
                <a:lnTo>
                  <a:pt x="10092501" y="0"/>
                </a:lnTo>
                <a:lnTo>
                  <a:pt x="6390805" y="5538650"/>
                </a:lnTo>
                <a:lnTo>
                  <a:pt x="6373323" y="5538650"/>
                </a:lnTo>
                <a:close/>
                <a:moveTo>
                  <a:pt x="9664192" y="0"/>
                </a:moveTo>
                <a:lnTo>
                  <a:pt x="9681401" y="0"/>
                </a:lnTo>
                <a:lnTo>
                  <a:pt x="6361951" y="5538650"/>
                </a:lnTo>
                <a:lnTo>
                  <a:pt x="6343546" y="5538650"/>
                </a:lnTo>
                <a:close/>
                <a:moveTo>
                  <a:pt x="9276175" y="0"/>
                </a:moveTo>
                <a:lnTo>
                  <a:pt x="9293298" y="0"/>
                </a:lnTo>
                <a:lnTo>
                  <a:pt x="6333336" y="5538650"/>
                </a:lnTo>
                <a:lnTo>
                  <a:pt x="6315537" y="5538650"/>
                </a:lnTo>
                <a:close/>
                <a:moveTo>
                  <a:pt x="8909752" y="0"/>
                </a:moveTo>
                <a:lnTo>
                  <a:pt x="8925866" y="0"/>
                </a:lnTo>
                <a:lnTo>
                  <a:pt x="6306292" y="5538650"/>
                </a:lnTo>
                <a:lnTo>
                  <a:pt x="6289844" y="5538650"/>
                </a:lnTo>
                <a:close/>
                <a:moveTo>
                  <a:pt x="8559841" y="0"/>
                </a:moveTo>
                <a:lnTo>
                  <a:pt x="8575337" y="0"/>
                </a:lnTo>
                <a:lnTo>
                  <a:pt x="6281400" y="5538650"/>
                </a:lnTo>
                <a:lnTo>
                  <a:pt x="6264803" y="5538650"/>
                </a:lnTo>
                <a:close/>
                <a:moveTo>
                  <a:pt x="8222650" y="0"/>
                </a:moveTo>
                <a:lnTo>
                  <a:pt x="8237900" y="0"/>
                </a:lnTo>
                <a:lnTo>
                  <a:pt x="6256989" y="5538650"/>
                </a:lnTo>
                <a:lnTo>
                  <a:pt x="6239450" y="5538650"/>
                </a:lnTo>
                <a:close/>
                <a:moveTo>
                  <a:pt x="7897363" y="0"/>
                </a:moveTo>
                <a:lnTo>
                  <a:pt x="7912859" y="0"/>
                </a:lnTo>
                <a:lnTo>
                  <a:pt x="6232286" y="5538650"/>
                </a:lnTo>
                <a:lnTo>
                  <a:pt x="6216587" y="5538650"/>
                </a:lnTo>
                <a:close/>
                <a:moveTo>
                  <a:pt x="7581679" y="0"/>
                </a:moveTo>
                <a:lnTo>
                  <a:pt x="7597201" y="0"/>
                </a:lnTo>
                <a:lnTo>
                  <a:pt x="6209892" y="5538650"/>
                </a:lnTo>
                <a:lnTo>
                  <a:pt x="6194207" y="5538650"/>
                </a:lnTo>
                <a:close/>
                <a:moveTo>
                  <a:pt x="7274063" y="0"/>
                </a:moveTo>
                <a:lnTo>
                  <a:pt x="7290165" y="0"/>
                </a:lnTo>
                <a:lnTo>
                  <a:pt x="6187801" y="5538650"/>
                </a:lnTo>
                <a:lnTo>
                  <a:pt x="6171830" y="5538650"/>
                </a:lnTo>
                <a:close/>
                <a:moveTo>
                  <a:pt x="6973046" y="0"/>
                </a:moveTo>
                <a:lnTo>
                  <a:pt x="6988294" y="0"/>
                </a:lnTo>
                <a:lnTo>
                  <a:pt x="6165737" y="5538650"/>
                </a:lnTo>
                <a:lnTo>
                  <a:pt x="6151040" y="5538650"/>
                </a:lnTo>
                <a:close/>
                <a:moveTo>
                  <a:pt x="6675307" y="0"/>
                </a:moveTo>
                <a:lnTo>
                  <a:pt x="6690046" y="0"/>
                </a:lnTo>
                <a:lnTo>
                  <a:pt x="6145146" y="5538650"/>
                </a:lnTo>
                <a:lnTo>
                  <a:pt x="6129760" y="5538650"/>
                </a:lnTo>
                <a:close/>
                <a:moveTo>
                  <a:pt x="6379954" y="0"/>
                </a:moveTo>
                <a:lnTo>
                  <a:pt x="6396479" y="0"/>
                </a:lnTo>
                <a:lnTo>
                  <a:pt x="6124045" y="5538650"/>
                </a:lnTo>
                <a:lnTo>
                  <a:pt x="6108806" y="5538650"/>
                </a:lnTo>
                <a:close/>
                <a:moveTo>
                  <a:pt x="6087918" y="0"/>
                </a:moveTo>
                <a:lnTo>
                  <a:pt x="6103132" y="0"/>
                </a:lnTo>
                <a:lnTo>
                  <a:pt x="6103132" y="5538650"/>
                </a:lnTo>
                <a:lnTo>
                  <a:pt x="6087918" y="5538650"/>
                </a:lnTo>
                <a:close/>
                <a:moveTo>
                  <a:pt x="5794572" y="0"/>
                </a:moveTo>
                <a:lnTo>
                  <a:pt x="5811095" y="0"/>
                </a:lnTo>
                <a:lnTo>
                  <a:pt x="6082245" y="5538650"/>
                </a:lnTo>
                <a:lnTo>
                  <a:pt x="6067007" y="5538650"/>
                </a:lnTo>
                <a:close/>
                <a:moveTo>
                  <a:pt x="5501006" y="0"/>
                </a:moveTo>
                <a:lnTo>
                  <a:pt x="5515746" y="0"/>
                </a:lnTo>
                <a:lnTo>
                  <a:pt x="6061292" y="5538650"/>
                </a:lnTo>
                <a:lnTo>
                  <a:pt x="6045905" y="5538650"/>
                </a:lnTo>
                <a:close/>
                <a:moveTo>
                  <a:pt x="5202758" y="0"/>
                </a:moveTo>
                <a:lnTo>
                  <a:pt x="5218008" y="0"/>
                </a:lnTo>
                <a:lnTo>
                  <a:pt x="6040011" y="5538650"/>
                </a:lnTo>
                <a:lnTo>
                  <a:pt x="6025314" y="5538650"/>
                </a:lnTo>
                <a:close/>
                <a:moveTo>
                  <a:pt x="4900888" y="0"/>
                </a:moveTo>
                <a:lnTo>
                  <a:pt x="4916988" y="0"/>
                </a:lnTo>
                <a:lnTo>
                  <a:pt x="6019222" y="5538650"/>
                </a:lnTo>
                <a:lnTo>
                  <a:pt x="6003250" y="5538650"/>
                </a:lnTo>
                <a:close/>
                <a:moveTo>
                  <a:pt x="4593851" y="0"/>
                </a:moveTo>
                <a:lnTo>
                  <a:pt x="4609374" y="0"/>
                </a:lnTo>
                <a:lnTo>
                  <a:pt x="5996844" y="5538650"/>
                </a:lnTo>
                <a:lnTo>
                  <a:pt x="5981160" y="5538650"/>
                </a:lnTo>
                <a:close/>
                <a:moveTo>
                  <a:pt x="4278194" y="0"/>
                </a:moveTo>
                <a:lnTo>
                  <a:pt x="4293688" y="0"/>
                </a:lnTo>
                <a:lnTo>
                  <a:pt x="5974465" y="5538650"/>
                </a:lnTo>
                <a:lnTo>
                  <a:pt x="5958765" y="5538650"/>
                </a:lnTo>
                <a:close/>
                <a:moveTo>
                  <a:pt x="3953150" y="0"/>
                </a:moveTo>
                <a:lnTo>
                  <a:pt x="3968400" y="0"/>
                </a:lnTo>
                <a:lnTo>
                  <a:pt x="5951601" y="5538650"/>
                </a:lnTo>
                <a:lnTo>
                  <a:pt x="5934062" y="5538650"/>
                </a:lnTo>
                <a:close/>
                <a:moveTo>
                  <a:pt x="3615713" y="0"/>
                </a:moveTo>
                <a:lnTo>
                  <a:pt x="3631209" y="0"/>
                </a:lnTo>
                <a:lnTo>
                  <a:pt x="5926249" y="5538650"/>
                </a:lnTo>
                <a:lnTo>
                  <a:pt x="5909651" y="5538650"/>
                </a:lnTo>
                <a:close/>
                <a:moveTo>
                  <a:pt x="3264742" y="0"/>
                </a:moveTo>
                <a:lnTo>
                  <a:pt x="3281299" y="0"/>
                </a:lnTo>
                <a:lnTo>
                  <a:pt x="5901207" y="5538650"/>
                </a:lnTo>
                <a:lnTo>
                  <a:pt x="5882897" y="5538650"/>
                </a:lnTo>
                <a:close/>
                <a:moveTo>
                  <a:pt x="2897752" y="0"/>
                </a:moveTo>
                <a:lnTo>
                  <a:pt x="2914469" y="0"/>
                </a:lnTo>
                <a:lnTo>
                  <a:pt x="5873653" y="5538650"/>
                </a:lnTo>
                <a:lnTo>
                  <a:pt x="5857716" y="5538650"/>
                </a:lnTo>
                <a:close/>
                <a:moveTo>
                  <a:pt x="2509648" y="0"/>
                </a:moveTo>
                <a:lnTo>
                  <a:pt x="2526858" y="0"/>
                </a:lnTo>
                <a:lnTo>
                  <a:pt x="5847506" y="5538650"/>
                </a:lnTo>
                <a:lnTo>
                  <a:pt x="5829100" y="5538650"/>
                </a:lnTo>
                <a:close/>
                <a:moveTo>
                  <a:pt x="2098550" y="0"/>
                </a:moveTo>
                <a:lnTo>
                  <a:pt x="2117319" y="0"/>
                </a:lnTo>
                <a:lnTo>
                  <a:pt x="5817728" y="5538650"/>
                </a:lnTo>
                <a:lnTo>
                  <a:pt x="5800246" y="5538650"/>
                </a:lnTo>
                <a:close/>
                <a:moveTo>
                  <a:pt x="1660880" y="0"/>
                </a:moveTo>
                <a:lnTo>
                  <a:pt x="1679710" y="0"/>
                </a:lnTo>
                <a:lnTo>
                  <a:pt x="5787564" y="5538650"/>
                </a:lnTo>
                <a:lnTo>
                  <a:pt x="5767933" y="5538650"/>
                </a:lnTo>
                <a:close/>
                <a:moveTo>
                  <a:pt x="1186725" y="0"/>
                </a:moveTo>
                <a:lnTo>
                  <a:pt x="1207744" y="0"/>
                </a:lnTo>
                <a:lnTo>
                  <a:pt x="5753555" y="5538650"/>
                </a:lnTo>
                <a:lnTo>
                  <a:pt x="5731855" y="5538650"/>
                </a:lnTo>
                <a:close/>
                <a:moveTo>
                  <a:pt x="674537" y="0"/>
                </a:moveTo>
                <a:lnTo>
                  <a:pt x="697166" y="0"/>
                </a:lnTo>
                <a:lnTo>
                  <a:pt x="5715377" y="5538650"/>
                </a:lnTo>
                <a:lnTo>
                  <a:pt x="5695348" y="5538650"/>
                </a:lnTo>
                <a:close/>
                <a:moveTo>
                  <a:pt x="116766" y="0"/>
                </a:moveTo>
                <a:lnTo>
                  <a:pt x="137682" y="0"/>
                </a:lnTo>
                <a:lnTo>
                  <a:pt x="5676334" y="5538650"/>
                </a:lnTo>
                <a:lnTo>
                  <a:pt x="5655418" y="553865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2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/>
          </a:p>
        </p:txBody>
      </p:sp>
      <p:sp>
        <p:nvSpPr>
          <p:cNvPr id="46" name="Rectangle 45"/>
          <p:cNvSpPr/>
          <p:nvPr userDrawn="1"/>
        </p:nvSpPr>
        <p:spPr>
          <a:xfrm>
            <a:off x="841248" y="839023"/>
            <a:ext cx="10509506" cy="3849061"/>
          </a:xfrm>
          <a:prstGeom prst="rect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itle 136"/>
          <p:cNvSpPr>
            <a:spLocks noGrp="1"/>
          </p:cNvSpPr>
          <p:nvPr>
            <p:ph type="title" hasCustomPrompt="1"/>
          </p:nvPr>
        </p:nvSpPr>
        <p:spPr>
          <a:xfrm>
            <a:off x="2814844" y="2132611"/>
            <a:ext cx="6562313" cy="126188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algn="ctr" defTabSz="914400" rtl="0" eaLnBrk="1" latinLnBrk="0" hangingPunct="1">
              <a:defRPr lang="en-US" sz="3800" b="1" kern="1200" baseline="0">
                <a:solidFill>
                  <a:schemeClr val="tx2">
                    <a:lumMod val="75000"/>
                  </a:schemeClr>
                </a:solidFill>
                <a:latin typeface="+mn-lt"/>
                <a:ea typeface="Verdana" charset="0"/>
                <a:cs typeface="Verdana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SEPERATOR TITLE</a:t>
            </a:r>
          </a:p>
        </p:txBody>
      </p:sp>
      <p:sp>
        <p:nvSpPr>
          <p:cNvPr id="10" name="Slide Number Placeholder 47"/>
          <p:cNvSpPr>
            <a:spLocks noGrp="1"/>
          </p:cNvSpPr>
          <p:nvPr>
            <p:ph type="sldNum" sz="quarter" idx="4"/>
          </p:nvPr>
        </p:nvSpPr>
        <p:spPr>
          <a:xfrm>
            <a:off x="5923109" y="6386179"/>
            <a:ext cx="345782" cy="283906"/>
          </a:xfrm>
          <a:prstGeom prst="rect">
            <a:avLst/>
          </a:prstGeom>
        </p:spPr>
        <p:txBody>
          <a:bodyPr vert="horz" wrap="none" lIns="72000" tIns="72000" rIns="72000" bIns="72000" rtlCol="0" anchor="ctr">
            <a:spAutoFit/>
          </a:bodyPr>
          <a:lstStyle>
            <a:lvl1pPr marL="0" algn="ctr" defTabSz="914400" rtl="0" eaLnBrk="1" latinLnBrk="0" hangingPunct="1">
              <a:defRPr lang="en-US" sz="900" b="0" kern="1200" smtClean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fld id="{908A6156-A627-474E-9F69-6627F5ED25C1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7140949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 userDrawn="1"/>
        </p:nvSpPr>
        <p:spPr>
          <a:xfrm>
            <a:off x="0" y="0"/>
            <a:ext cx="12192000" cy="5538651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70000">
                <a:srgbClr val="005DA7"/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Freeform 40"/>
          <p:cNvSpPr>
            <a:spLocks noChangeArrowheads="1"/>
          </p:cNvSpPr>
          <p:nvPr userDrawn="1"/>
        </p:nvSpPr>
        <p:spPr bwMode="auto">
          <a:xfrm>
            <a:off x="0" y="1"/>
            <a:ext cx="12192000" cy="5538650"/>
          </a:xfrm>
          <a:custGeom>
            <a:avLst/>
            <a:gdLst>
              <a:gd name="connsiteX0" fmla="*/ 0 w 12192000"/>
              <a:gd name="connsiteY0" fmla="*/ 5361265 h 5538650"/>
              <a:gd name="connsiteX1" fmla="*/ 1803035 w 12192000"/>
              <a:gd name="connsiteY1" fmla="*/ 5538650 h 5538650"/>
              <a:gd name="connsiteX2" fmla="*/ 1651395 w 12192000"/>
              <a:gd name="connsiteY2" fmla="*/ 5538650 h 5538650"/>
              <a:gd name="connsiteX3" fmla="*/ 0 w 12192000"/>
              <a:gd name="connsiteY3" fmla="*/ 5375991 h 5538650"/>
              <a:gd name="connsiteX4" fmla="*/ 12192000 w 12192000"/>
              <a:gd name="connsiteY4" fmla="*/ 5361172 h 5538650"/>
              <a:gd name="connsiteX5" fmla="*/ 12192000 w 12192000"/>
              <a:gd name="connsiteY5" fmla="*/ 5375897 h 5538650"/>
              <a:gd name="connsiteX6" fmla="*/ 10539653 w 12192000"/>
              <a:gd name="connsiteY6" fmla="*/ 5538650 h 5538650"/>
              <a:gd name="connsiteX7" fmla="*/ 10388020 w 12192000"/>
              <a:gd name="connsiteY7" fmla="*/ 5538650 h 5538650"/>
              <a:gd name="connsiteX8" fmla="*/ 0 w 12192000"/>
              <a:gd name="connsiteY8" fmla="*/ 5056639 h 5538650"/>
              <a:gd name="connsiteX9" fmla="*/ 3245598 w 12192000"/>
              <a:gd name="connsiteY9" fmla="*/ 5538650 h 5538650"/>
              <a:gd name="connsiteX10" fmla="*/ 3144944 w 12192000"/>
              <a:gd name="connsiteY10" fmla="*/ 5538650 h 5538650"/>
              <a:gd name="connsiteX11" fmla="*/ 0 w 12192000"/>
              <a:gd name="connsiteY11" fmla="*/ 5071901 h 5538650"/>
              <a:gd name="connsiteX12" fmla="*/ 12192000 w 12192000"/>
              <a:gd name="connsiteY12" fmla="*/ 5056498 h 5538650"/>
              <a:gd name="connsiteX13" fmla="*/ 12192000 w 12192000"/>
              <a:gd name="connsiteY13" fmla="*/ 5071760 h 5538650"/>
              <a:gd name="connsiteX14" fmla="*/ 9046109 w 12192000"/>
              <a:gd name="connsiteY14" fmla="*/ 5538650 h 5538650"/>
              <a:gd name="connsiteX15" fmla="*/ 8945453 w 12192000"/>
              <a:gd name="connsiteY15" fmla="*/ 5538650 h 5538650"/>
              <a:gd name="connsiteX16" fmla="*/ 0 w 12192000"/>
              <a:gd name="connsiteY16" fmla="*/ 4748340 h 5538650"/>
              <a:gd name="connsiteX17" fmla="*/ 3970783 w 12192000"/>
              <a:gd name="connsiteY17" fmla="*/ 5538650 h 5538650"/>
              <a:gd name="connsiteX18" fmla="*/ 3890323 w 12192000"/>
              <a:gd name="connsiteY18" fmla="*/ 5538650 h 5538650"/>
              <a:gd name="connsiteX19" fmla="*/ 0 w 12192000"/>
              <a:gd name="connsiteY19" fmla="*/ 4764446 h 5538650"/>
              <a:gd name="connsiteX20" fmla="*/ 12192000 w 12192000"/>
              <a:gd name="connsiteY20" fmla="*/ 4748152 h 5538650"/>
              <a:gd name="connsiteX21" fmla="*/ 12192000 w 12192000"/>
              <a:gd name="connsiteY21" fmla="*/ 4764257 h 5538650"/>
              <a:gd name="connsiteX22" fmla="*/ 8300729 w 12192000"/>
              <a:gd name="connsiteY22" fmla="*/ 5538650 h 5538650"/>
              <a:gd name="connsiteX23" fmla="*/ 8220271 w 12192000"/>
              <a:gd name="connsiteY23" fmla="*/ 5538650 h 5538650"/>
              <a:gd name="connsiteX24" fmla="*/ 0 w 12192000"/>
              <a:gd name="connsiteY24" fmla="*/ 4434761 h 5538650"/>
              <a:gd name="connsiteX25" fmla="*/ 4407134 w 12192000"/>
              <a:gd name="connsiteY25" fmla="*/ 5538650 h 5538650"/>
              <a:gd name="connsiteX26" fmla="*/ 4344675 w 12192000"/>
              <a:gd name="connsiteY26" fmla="*/ 5538650 h 5538650"/>
              <a:gd name="connsiteX27" fmla="*/ 0 w 12192000"/>
              <a:gd name="connsiteY27" fmla="*/ 4450278 h 5538650"/>
              <a:gd name="connsiteX28" fmla="*/ 12192000 w 12192000"/>
              <a:gd name="connsiteY28" fmla="*/ 4434523 h 5538650"/>
              <a:gd name="connsiteX29" fmla="*/ 12192000 w 12192000"/>
              <a:gd name="connsiteY29" fmla="*/ 4450039 h 5538650"/>
              <a:gd name="connsiteX30" fmla="*/ 7846376 w 12192000"/>
              <a:gd name="connsiteY30" fmla="*/ 5538650 h 5538650"/>
              <a:gd name="connsiteX31" fmla="*/ 7783917 w 12192000"/>
              <a:gd name="connsiteY31" fmla="*/ 5538650 h 5538650"/>
              <a:gd name="connsiteX32" fmla="*/ 0 w 12192000"/>
              <a:gd name="connsiteY32" fmla="*/ 4112365 h 5538650"/>
              <a:gd name="connsiteX33" fmla="*/ 4700598 w 12192000"/>
              <a:gd name="connsiteY33" fmla="*/ 5538650 h 5538650"/>
              <a:gd name="connsiteX34" fmla="*/ 4648976 w 12192000"/>
              <a:gd name="connsiteY34" fmla="*/ 5538650 h 5538650"/>
              <a:gd name="connsiteX35" fmla="*/ 0 w 12192000"/>
              <a:gd name="connsiteY35" fmla="*/ 4127856 h 5538650"/>
              <a:gd name="connsiteX36" fmla="*/ 12192000 w 12192000"/>
              <a:gd name="connsiteY36" fmla="*/ 4111926 h 5538650"/>
              <a:gd name="connsiteX37" fmla="*/ 12192000 w 12192000"/>
              <a:gd name="connsiteY37" fmla="*/ 4127568 h 5538650"/>
              <a:gd name="connsiteX38" fmla="*/ 7542076 w 12192000"/>
              <a:gd name="connsiteY38" fmla="*/ 5538650 h 5538650"/>
              <a:gd name="connsiteX39" fmla="*/ 7488819 w 12192000"/>
              <a:gd name="connsiteY39" fmla="*/ 5538650 h 5538650"/>
              <a:gd name="connsiteX40" fmla="*/ 0 w 12192000"/>
              <a:gd name="connsiteY40" fmla="*/ 3780425 h 5538650"/>
              <a:gd name="connsiteX41" fmla="*/ 4916015 w 12192000"/>
              <a:gd name="connsiteY41" fmla="*/ 5538650 h 5538650"/>
              <a:gd name="connsiteX42" fmla="*/ 4867902 w 12192000"/>
              <a:gd name="connsiteY42" fmla="*/ 5538650 h 5538650"/>
              <a:gd name="connsiteX43" fmla="*/ 0 w 12192000"/>
              <a:gd name="connsiteY43" fmla="*/ 3795622 h 5538650"/>
              <a:gd name="connsiteX44" fmla="*/ 12192000 w 12192000"/>
              <a:gd name="connsiteY44" fmla="*/ 3780085 h 5538650"/>
              <a:gd name="connsiteX45" fmla="*/ 12192000 w 12192000"/>
              <a:gd name="connsiteY45" fmla="*/ 3794601 h 5538650"/>
              <a:gd name="connsiteX46" fmla="*/ 7321249 w 12192000"/>
              <a:gd name="connsiteY46" fmla="*/ 5538650 h 5538650"/>
              <a:gd name="connsiteX47" fmla="*/ 7275037 w 12192000"/>
              <a:gd name="connsiteY47" fmla="*/ 5538650 h 5538650"/>
              <a:gd name="connsiteX48" fmla="*/ 0 w 12192000"/>
              <a:gd name="connsiteY48" fmla="*/ 3435799 h 5538650"/>
              <a:gd name="connsiteX49" fmla="*/ 5077278 w 12192000"/>
              <a:gd name="connsiteY49" fmla="*/ 5538650 h 5538650"/>
              <a:gd name="connsiteX50" fmla="*/ 5037506 w 12192000"/>
              <a:gd name="connsiteY50" fmla="*/ 5538650 h 5538650"/>
              <a:gd name="connsiteX51" fmla="*/ 0 w 12192000"/>
              <a:gd name="connsiteY51" fmla="*/ 3451269 h 5538650"/>
              <a:gd name="connsiteX52" fmla="*/ 12192000 w 12192000"/>
              <a:gd name="connsiteY52" fmla="*/ 3435405 h 5538650"/>
              <a:gd name="connsiteX53" fmla="*/ 12192000 w 12192000"/>
              <a:gd name="connsiteY53" fmla="*/ 3450875 h 5538650"/>
              <a:gd name="connsiteX54" fmla="*/ 7153546 w 12192000"/>
              <a:gd name="connsiteY54" fmla="*/ 5538650 h 5538650"/>
              <a:gd name="connsiteX55" fmla="*/ 7113776 w 12192000"/>
              <a:gd name="connsiteY55" fmla="*/ 5538650 h 5538650"/>
              <a:gd name="connsiteX56" fmla="*/ 0 w 12192000"/>
              <a:gd name="connsiteY56" fmla="*/ 3077379 h 5538650"/>
              <a:gd name="connsiteX57" fmla="*/ 5206769 w 12192000"/>
              <a:gd name="connsiteY57" fmla="*/ 5538650 h 5538650"/>
              <a:gd name="connsiteX58" fmla="*/ 5168362 w 12192000"/>
              <a:gd name="connsiteY58" fmla="*/ 5538650 h 5538650"/>
              <a:gd name="connsiteX59" fmla="*/ 0 w 12192000"/>
              <a:gd name="connsiteY59" fmla="*/ 3093896 h 5538650"/>
              <a:gd name="connsiteX60" fmla="*/ 12192000 w 12192000"/>
              <a:gd name="connsiteY60" fmla="*/ 3076929 h 5538650"/>
              <a:gd name="connsiteX61" fmla="*/ 12192000 w 12192000"/>
              <a:gd name="connsiteY61" fmla="*/ 3093447 h 5538650"/>
              <a:gd name="connsiteX62" fmla="*/ 7022692 w 12192000"/>
              <a:gd name="connsiteY62" fmla="*/ 5538650 h 5538650"/>
              <a:gd name="connsiteX63" fmla="*/ 6984285 w 12192000"/>
              <a:gd name="connsiteY63" fmla="*/ 5538650 h 5538650"/>
              <a:gd name="connsiteX64" fmla="*/ 0 w 12192000"/>
              <a:gd name="connsiteY64" fmla="*/ 2702539 h 5538650"/>
              <a:gd name="connsiteX65" fmla="*/ 5306906 w 12192000"/>
              <a:gd name="connsiteY65" fmla="*/ 5538650 h 5538650"/>
              <a:gd name="connsiteX66" fmla="*/ 5276980 w 12192000"/>
              <a:gd name="connsiteY66" fmla="*/ 5538650 h 5538650"/>
              <a:gd name="connsiteX67" fmla="*/ 0 w 12192000"/>
              <a:gd name="connsiteY67" fmla="*/ 2719272 h 5538650"/>
              <a:gd name="connsiteX68" fmla="*/ 12192000 w 12192000"/>
              <a:gd name="connsiteY68" fmla="*/ 2702031 h 5538650"/>
              <a:gd name="connsiteX69" fmla="*/ 12192000 w 12192000"/>
              <a:gd name="connsiteY69" fmla="*/ 2718765 h 5538650"/>
              <a:gd name="connsiteX70" fmla="*/ 6914075 w 12192000"/>
              <a:gd name="connsiteY70" fmla="*/ 5538650 h 5538650"/>
              <a:gd name="connsiteX71" fmla="*/ 6884146 w 12192000"/>
              <a:gd name="connsiteY71" fmla="*/ 5538650 h 5538650"/>
              <a:gd name="connsiteX72" fmla="*/ 0 w 12192000"/>
              <a:gd name="connsiteY72" fmla="*/ 2306178 h 5538650"/>
              <a:gd name="connsiteX73" fmla="*/ 5393525 w 12192000"/>
              <a:gd name="connsiteY73" fmla="*/ 5538650 h 5538650"/>
              <a:gd name="connsiteX74" fmla="*/ 5362926 w 12192000"/>
              <a:gd name="connsiteY74" fmla="*/ 5538650 h 5538650"/>
              <a:gd name="connsiteX75" fmla="*/ 0 w 12192000"/>
              <a:gd name="connsiteY75" fmla="*/ 2323359 h 5538650"/>
              <a:gd name="connsiteX76" fmla="*/ 12192000 w 12192000"/>
              <a:gd name="connsiteY76" fmla="*/ 2305608 h 5538650"/>
              <a:gd name="connsiteX77" fmla="*/ 12192000 w 12192000"/>
              <a:gd name="connsiteY77" fmla="*/ 2322789 h 5538650"/>
              <a:gd name="connsiteX78" fmla="*/ 6828126 w 12192000"/>
              <a:gd name="connsiteY78" fmla="*/ 5538650 h 5538650"/>
              <a:gd name="connsiteX79" fmla="*/ 6797528 w 12192000"/>
              <a:gd name="connsiteY79" fmla="*/ 5538650 h 5538650"/>
              <a:gd name="connsiteX80" fmla="*/ 0 w 12192000"/>
              <a:gd name="connsiteY80" fmla="*/ 1886298 h 5538650"/>
              <a:gd name="connsiteX81" fmla="*/ 5464823 w 12192000"/>
              <a:gd name="connsiteY81" fmla="*/ 5538650 h 5538650"/>
              <a:gd name="connsiteX82" fmla="*/ 5438585 w 12192000"/>
              <a:gd name="connsiteY82" fmla="*/ 5538650 h 5538650"/>
              <a:gd name="connsiteX83" fmla="*/ 0 w 12192000"/>
              <a:gd name="connsiteY83" fmla="*/ 1905097 h 5538650"/>
              <a:gd name="connsiteX84" fmla="*/ 12192000 w 12192000"/>
              <a:gd name="connsiteY84" fmla="*/ 1885663 h 5538650"/>
              <a:gd name="connsiteX85" fmla="*/ 12192000 w 12192000"/>
              <a:gd name="connsiteY85" fmla="*/ 1904462 h 5538650"/>
              <a:gd name="connsiteX86" fmla="*/ 6752468 w 12192000"/>
              <a:gd name="connsiteY86" fmla="*/ 5538650 h 5538650"/>
              <a:gd name="connsiteX87" fmla="*/ 6726230 w 12192000"/>
              <a:gd name="connsiteY87" fmla="*/ 5538650 h 5538650"/>
              <a:gd name="connsiteX88" fmla="*/ 0 w 12192000"/>
              <a:gd name="connsiteY88" fmla="*/ 1439316 h 5538650"/>
              <a:gd name="connsiteX89" fmla="*/ 5528242 w 12192000"/>
              <a:gd name="connsiteY89" fmla="*/ 5538650 h 5538650"/>
              <a:gd name="connsiteX90" fmla="*/ 5501801 w 12192000"/>
              <a:gd name="connsiteY90" fmla="*/ 5538650 h 5538650"/>
              <a:gd name="connsiteX91" fmla="*/ 0 w 12192000"/>
              <a:gd name="connsiteY91" fmla="*/ 1458129 h 5538650"/>
              <a:gd name="connsiteX92" fmla="*/ 12192000 w 12192000"/>
              <a:gd name="connsiteY92" fmla="*/ 1438611 h 5538650"/>
              <a:gd name="connsiteX93" fmla="*/ 12192000 w 12192000"/>
              <a:gd name="connsiteY93" fmla="*/ 1457424 h 5538650"/>
              <a:gd name="connsiteX94" fmla="*/ 6689252 w 12192000"/>
              <a:gd name="connsiteY94" fmla="*/ 5538650 h 5538650"/>
              <a:gd name="connsiteX95" fmla="*/ 6662810 w 12192000"/>
              <a:gd name="connsiteY95" fmla="*/ 5538650 h 5538650"/>
              <a:gd name="connsiteX96" fmla="*/ 0 w 12192000"/>
              <a:gd name="connsiteY96" fmla="*/ 955098 h 5538650"/>
              <a:gd name="connsiteX97" fmla="*/ 5585473 w 12192000"/>
              <a:gd name="connsiteY97" fmla="*/ 5538650 h 5538650"/>
              <a:gd name="connsiteX98" fmla="*/ 5559044 w 12192000"/>
              <a:gd name="connsiteY98" fmla="*/ 5538650 h 5538650"/>
              <a:gd name="connsiteX99" fmla="*/ 0 w 12192000"/>
              <a:gd name="connsiteY99" fmla="*/ 976103 h 5538650"/>
              <a:gd name="connsiteX100" fmla="*/ 12192000 w 12192000"/>
              <a:gd name="connsiteY100" fmla="*/ 954319 h 5538650"/>
              <a:gd name="connsiteX101" fmla="*/ 12192000 w 12192000"/>
              <a:gd name="connsiteY101" fmla="*/ 975322 h 5538650"/>
              <a:gd name="connsiteX102" fmla="*/ 6632007 w 12192000"/>
              <a:gd name="connsiteY102" fmla="*/ 5538650 h 5538650"/>
              <a:gd name="connsiteX103" fmla="*/ 6605580 w 12192000"/>
              <a:gd name="connsiteY103" fmla="*/ 5538650 h 5538650"/>
              <a:gd name="connsiteX104" fmla="*/ 0 w 12192000"/>
              <a:gd name="connsiteY104" fmla="*/ 431985 h 5538650"/>
              <a:gd name="connsiteX105" fmla="*/ 5633364 w 12192000"/>
              <a:gd name="connsiteY105" fmla="*/ 5538650 h 5538650"/>
              <a:gd name="connsiteX106" fmla="*/ 5611239 w 12192000"/>
              <a:gd name="connsiteY106" fmla="*/ 5538650 h 5538650"/>
              <a:gd name="connsiteX107" fmla="*/ 0 w 12192000"/>
              <a:gd name="connsiteY107" fmla="*/ 454672 h 5538650"/>
              <a:gd name="connsiteX108" fmla="*/ 12192000 w 12192000"/>
              <a:gd name="connsiteY108" fmla="*/ 431124 h 5538650"/>
              <a:gd name="connsiteX109" fmla="*/ 12192000 w 12192000"/>
              <a:gd name="connsiteY109" fmla="*/ 453812 h 5538650"/>
              <a:gd name="connsiteX110" fmla="*/ 6579814 w 12192000"/>
              <a:gd name="connsiteY110" fmla="*/ 5538650 h 5538650"/>
              <a:gd name="connsiteX111" fmla="*/ 6557689 w 12192000"/>
              <a:gd name="connsiteY111" fmla="*/ 5538650 h 5538650"/>
              <a:gd name="connsiteX112" fmla="*/ 12053367 w 12192000"/>
              <a:gd name="connsiteY112" fmla="*/ 0 h 5538650"/>
              <a:gd name="connsiteX113" fmla="*/ 12074285 w 12192000"/>
              <a:gd name="connsiteY113" fmla="*/ 0 h 5538650"/>
              <a:gd name="connsiteX114" fmla="*/ 6535635 w 12192000"/>
              <a:gd name="connsiteY114" fmla="*/ 5538650 h 5538650"/>
              <a:gd name="connsiteX115" fmla="*/ 6514718 w 12192000"/>
              <a:gd name="connsiteY115" fmla="*/ 5538650 h 5538650"/>
              <a:gd name="connsiteX116" fmla="*/ 11493886 w 12192000"/>
              <a:gd name="connsiteY116" fmla="*/ 0 h 5538650"/>
              <a:gd name="connsiteX117" fmla="*/ 11516512 w 12192000"/>
              <a:gd name="connsiteY117" fmla="*/ 0 h 5538650"/>
              <a:gd name="connsiteX118" fmla="*/ 6495704 w 12192000"/>
              <a:gd name="connsiteY118" fmla="*/ 5538650 h 5538650"/>
              <a:gd name="connsiteX119" fmla="*/ 6475677 w 12192000"/>
              <a:gd name="connsiteY119" fmla="*/ 5538650 h 5538650"/>
              <a:gd name="connsiteX120" fmla="*/ 10983307 w 12192000"/>
              <a:gd name="connsiteY120" fmla="*/ 0 h 5538650"/>
              <a:gd name="connsiteX121" fmla="*/ 11004326 w 12192000"/>
              <a:gd name="connsiteY121" fmla="*/ 0 h 5538650"/>
              <a:gd name="connsiteX122" fmla="*/ 6459200 w 12192000"/>
              <a:gd name="connsiteY122" fmla="*/ 5538650 h 5538650"/>
              <a:gd name="connsiteX123" fmla="*/ 6437499 w 12192000"/>
              <a:gd name="connsiteY123" fmla="*/ 5538650 h 5538650"/>
              <a:gd name="connsiteX124" fmla="*/ 10511339 w 12192000"/>
              <a:gd name="connsiteY124" fmla="*/ 0 h 5538650"/>
              <a:gd name="connsiteX125" fmla="*/ 10530171 w 12192000"/>
              <a:gd name="connsiteY125" fmla="*/ 0 h 5538650"/>
              <a:gd name="connsiteX126" fmla="*/ 6423121 w 12192000"/>
              <a:gd name="connsiteY126" fmla="*/ 5538650 h 5538650"/>
              <a:gd name="connsiteX127" fmla="*/ 6403488 w 12192000"/>
              <a:gd name="connsiteY127" fmla="*/ 5538650 h 5538650"/>
              <a:gd name="connsiteX128" fmla="*/ 10073731 w 12192000"/>
              <a:gd name="connsiteY128" fmla="*/ 0 h 5538650"/>
              <a:gd name="connsiteX129" fmla="*/ 10092501 w 12192000"/>
              <a:gd name="connsiteY129" fmla="*/ 0 h 5538650"/>
              <a:gd name="connsiteX130" fmla="*/ 6390805 w 12192000"/>
              <a:gd name="connsiteY130" fmla="*/ 5538650 h 5538650"/>
              <a:gd name="connsiteX131" fmla="*/ 6373323 w 12192000"/>
              <a:gd name="connsiteY131" fmla="*/ 5538650 h 5538650"/>
              <a:gd name="connsiteX132" fmla="*/ 9664192 w 12192000"/>
              <a:gd name="connsiteY132" fmla="*/ 0 h 5538650"/>
              <a:gd name="connsiteX133" fmla="*/ 9681401 w 12192000"/>
              <a:gd name="connsiteY133" fmla="*/ 0 h 5538650"/>
              <a:gd name="connsiteX134" fmla="*/ 6361951 w 12192000"/>
              <a:gd name="connsiteY134" fmla="*/ 5538650 h 5538650"/>
              <a:gd name="connsiteX135" fmla="*/ 6343546 w 12192000"/>
              <a:gd name="connsiteY135" fmla="*/ 5538650 h 5538650"/>
              <a:gd name="connsiteX136" fmla="*/ 9276175 w 12192000"/>
              <a:gd name="connsiteY136" fmla="*/ 0 h 5538650"/>
              <a:gd name="connsiteX137" fmla="*/ 9293298 w 12192000"/>
              <a:gd name="connsiteY137" fmla="*/ 0 h 5538650"/>
              <a:gd name="connsiteX138" fmla="*/ 6333336 w 12192000"/>
              <a:gd name="connsiteY138" fmla="*/ 5538650 h 5538650"/>
              <a:gd name="connsiteX139" fmla="*/ 6315537 w 12192000"/>
              <a:gd name="connsiteY139" fmla="*/ 5538650 h 5538650"/>
              <a:gd name="connsiteX140" fmla="*/ 8909752 w 12192000"/>
              <a:gd name="connsiteY140" fmla="*/ 0 h 5538650"/>
              <a:gd name="connsiteX141" fmla="*/ 8925866 w 12192000"/>
              <a:gd name="connsiteY141" fmla="*/ 0 h 5538650"/>
              <a:gd name="connsiteX142" fmla="*/ 6306292 w 12192000"/>
              <a:gd name="connsiteY142" fmla="*/ 5538650 h 5538650"/>
              <a:gd name="connsiteX143" fmla="*/ 6289844 w 12192000"/>
              <a:gd name="connsiteY143" fmla="*/ 5538650 h 5538650"/>
              <a:gd name="connsiteX144" fmla="*/ 8559841 w 12192000"/>
              <a:gd name="connsiteY144" fmla="*/ 0 h 5538650"/>
              <a:gd name="connsiteX145" fmla="*/ 8575337 w 12192000"/>
              <a:gd name="connsiteY145" fmla="*/ 0 h 5538650"/>
              <a:gd name="connsiteX146" fmla="*/ 6281400 w 12192000"/>
              <a:gd name="connsiteY146" fmla="*/ 5538650 h 5538650"/>
              <a:gd name="connsiteX147" fmla="*/ 6264803 w 12192000"/>
              <a:gd name="connsiteY147" fmla="*/ 5538650 h 5538650"/>
              <a:gd name="connsiteX148" fmla="*/ 8222650 w 12192000"/>
              <a:gd name="connsiteY148" fmla="*/ 0 h 5538650"/>
              <a:gd name="connsiteX149" fmla="*/ 8237900 w 12192000"/>
              <a:gd name="connsiteY149" fmla="*/ 0 h 5538650"/>
              <a:gd name="connsiteX150" fmla="*/ 6256989 w 12192000"/>
              <a:gd name="connsiteY150" fmla="*/ 5538650 h 5538650"/>
              <a:gd name="connsiteX151" fmla="*/ 6239450 w 12192000"/>
              <a:gd name="connsiteY151" fmla="*/ 5538650 h 5538650"/>
              <a:gd name="connsiteX152" fmla="*/ 7897363 w 12192000"/>
              <a:gd name="connsiteY152" fmla="*/ 0 h 5538650"/>
              <a:gd name="connsiteX153" fmla="*/ 7912859 w 12192000"/>
              <a:gd name="connsiteY153" fmla="*/ 0 h 5538650"/>
              <a:gd name="connsiteX154" fmla="*/ 6232286 w 12192000"/>
              <a:gd name="connsiteY154" fmla="*/ 5538650 h 5538650"/>
              <a:gd name="connsiteX155" fmla="*/ 6216587 w 12192000"/>
              <a:gd name="connsiteY155" fmla="*/ 5538650 h 5538650"/>
              <a:gd name="connsiteX156" fmla="*/ 7581679 w 12192000"/>
              <a:gd name="connsiteY156" fmla="*/ 0 h 5538650"/>
              <a:gd name="connsiteX157" fmla="*/ 7597201 w 12192000"/>
              <a:gd name="connsiteY157" fmla="*/ 0 h 5538650"/>
              <a:gd name="connsiteX158" fmla="*/ 6209892 w 12192000"/>
              <a:gd name="connsiteY158" fmla="*/ 5538650 h 5538650"/>
              <a:gd name="connsiteX159" fmla="*/ 6194207 w 12192000"/>
              <a:gd name="connsiteY159" fmla="*/ 5538650 h 5538650"/>
              <a:gd name="connsiteX160" fmla="*/ 7274063 w 12192000"/>
              <a:gd name="connsiteY160" fmla="*/ 0 h 5538650"/>
              <a:gd name="connsiteX161" fmla="*/ 7290165 w 12192000"/>
              <a:gd name="connsiteY161" fmla="*/ 0 h 5538650"/>
              <a:gd name="connsiteX162" fmla="*/ 6187801 w 12192000"/>
              <a:gd name="connsiteY162" fmla="*/ 5538650 h 5538650"/>
              <a:gd name="connsiteX163" fmla="*/ 6171830 w 12192000"/>
              <a:gd name="connsiteY163" fmla="*/ 5538650 h 5538650"/>
              <a:gd name="connsiteX164" fmla="*/ 6973046 w 12192000"/>
              <a:gd name="connsiteY164" fmla="*/ 0 h 5538650"/>
              <a:gd name="connsiteX165" fmla="*/ 6988294 w 12192000"/>
              <a:gd name="connsiteY165" fmla="*/ 0 h 5538650"/>
              <a:gd name="connsiteX166" fmla="*/ 6165737 w 12192000"/>
              <a:gd name="connsiteY166" fmla="*/ 5538650 h 5538650"/>
              <a:gd name="connsiteX167" fmla="*/ 6151040 w 12192000"/>
              <a:gd name="connsiteY167" fmla="*/ 5538650 h 5538650"/>
              <a:gd name="connsiteX168" fmla="*/ 6675307 w 12192000"/>
              <a:gd name="connsiteY168" fmla="*/ 0 h 5538650"/>
              <a:gd name="connsiteX169" fmla="*/ 6690046 w 12192000"/>
              <a:gd name="connsiteY169" fmla="*/ 0 h 5538650"/>
              <a:gd name="connsiteX170" fmla="*/ 6145146 w 12192000"/>
              <a:gd name="connsiteY170" fmla="*/ 5538650 h 5538650"/>
              <a:gd name="connsiteX171" fmla="*/ 6129760 w 12192000"/>
              <a:gd name="connsiteY171" fmla="*/ 5538650 h 5538650"/>
              <a:gd name="connsiteX172" fmla="*/ 6379954 w 12192000"/>
              <a:gd name="connsiteY172" fmla="*/ 0 h 5538650"/>
              <a:gd name="connsiteX173" fmla="*/ 6396479 w 12192000"/>
              <a:gd name="connsiteY173" fmla="*/ 0 h 5538650"/>
              <a:gd name="connsiteX174" fmla="*/ 6124045 w 12192000"/>
              <a:gd name="connsiteY174" fmla="*/ 5538650 h 5538650"/>
              <a:gd name="connsiteX175" fmla="*/ 6108806 w 12192000"/>
              <a:gd name="connsiteY175" fmla="*/ 5538650 h 5538650"/>
              <a:gd name="connsiteX176" fmla="*/ 6087918 w 12192000"/>
              <a:gd name="connsiteY176" fmla="*/ 0 h 5538650"/>
              <a:gd name="connsiteX177" fmla="*/ 6103132 w 12192000"/>
              <a:gd name="connsiteY177" fmla="*/ 0 h 5538650"/>
              <a:gd name="connsiteX178" fmla="*/ 6103132 w 12192000"/>
              <a:gd name="connsiteY178" fmla="*/ 5538650 h 5538650"/>
              <a:gd name="connsiteX179" fmla="*/ 6087918 w 12192000"/>
              <a:gd name="connsiteY179" fmla="*/ 5538650 h 5538650"/>
              <a:gd name="connsiteX180" fmla="*/ 5794572 w 12192000"/>
              <a:gd name="connsiteY180" fmla="*/ 0 h 5538650"/>
              <a:gd name="connsiteX181" fmla="*/ 5811095 w 12192000"/>
              <a:gd name="connsiteY181" fmla="*/ 0 h 5538650"/>
              <a:gd name="connsiteX182" fmla="*/ 6082245 w 12192000"/>
              <a:gd name="connsiteY182" fmla="*/ 5538650 h 5538650"/>
              <a:gd name="connsiteX183" fmla="*/ 6067007 w 12192000"/>
              <a:gd name="connsiteY183" fmla="*/ 5538650 h 5538650"/>
              <a:gd name="connsiteX184" fmla="*/ 5501006 w 12192000"/>
              <a:gd name="connsiteY184" fmla="*/ 0 h 5538650"/>
              <a:gd name="connsiteX185" fmla="*/ 5515746 w 12192000"/>
              <a:gd name="connsiteY185" fmla="*/ 0 h 5538650"/>
              <a:gd name="connsiteX186" fmla="*/ 6061292 w 12192000"/>
              <a:gd name="connsiteY186" fmla="*/ 5538650 h 5538650"/>
              <a:gd name="connsiteX187" fmla="*/ 6045905 w 12192000"/>
              <a:gd name="connsiteY187" fmla="*/ 5538650 h 5538650"/>
              <a:gd name="connsiteX188" fmla="*/ 5202758 w 12192000"/>
              <a:gd name="connsiteY188" fmla="*/ 0 h 5538650"/>
              <a:gd name="connsiteX189" fmla="*/ 5218008 w 12192000"/>
              <a:gd name="connsiteY189" fmla="*/ 0 h 5538650"/>
              <a:gd name="connsiteX190" fmla="*/ 6040011 w 12192000"/>
              <a:gd name="connsiteY190" fmla="*/ 5538650 h 5538650"/>
              <a:gd name="connsiteX191" fmla="*/ 6025314 w 12192000"/>
              <a:gd name="connsiteY191" fmla="*/ 5538650 h 5538650"/>
              <a:gd name="connsiteX192" fmla="*/ 4900888 w 12192000"/>
              <a:gd name="connsiteY192" fmla="*/ 0 h 5538650"/>
              <a:gd name="connsiteX193" fmla="*/ 4916988 w 12192000"/>
              <a:gd name="connsiteY193" fmla="*/ 0 h 5538650"/>
              <a:gd name="connsiteX194" fmla="*/ 6019222 w 12192000"/>
              <a:gd name="connsiteY194" fmla="*/ 5538650 h 5538650"/>
              <a:gd name="connsiteX195" fmla="*/ 6003250 w 12192000"/>
              <a:gd name="connsiteY195" fmla="*/ 5538650 h 5538650"/>
              <a:gd name="connsiteX196" fmla="*/ 4593851 w 12192000"/>
              <a:gd name="connsiteY196" fmla="*/ 0 h 5538650"/>
              <a:gd name="connsiteX197" fmla="*/ 4609374 w 12192000"/>
              <a:gd name="connsiteY197" fmla="*/ 0 h 5538650"/>
              <a:gd name="connsiteX198" fmla="*/ 5996844 w 12192000"/>
              <a:gd name="connsiteY198" fmla="*/ 5538650 h 5538650"/>
              <a:gd name="connsiteX199" fmla="*/ 5981160 w 12192000"/>
              <a:gd name="connsiteY199" fmla="*/ 5538650 h 5538650"/>
              <a:gd name="connsiteX200" fmla="*/ 4278194 w 12192000"/>
              <a:gd name="connsiteY200" fmla="*/ 0 h 5538650"/>
              <a:gd name="connsiteX201" fmla="*/ 4293688 w 12192000"/>
              <a:gd name="connsiteY201" fmla="*/ 0 h 5538650"/>
              <a:gd name="connsiteX202" fmla="*/ 5974465 w 12192000"/>
              <a:gd name="connsiteY202" fmla="*/ 5538650 h 5538650"/>
              <a:gd name="connsiteX203" fmla="*/ 5958765 w 12192000"/>
              <a:gd name="connsiteY203" fmla="*/ 5538650 h 5538650"/>
              <a:gd name="connsiteX204" fmla="*/ 3953150 w 12192000"/>
              <a:gd name="connsiteY204" fmla="*/ 0 h 5538650"/>
              <a:gd name="connsiteX205" fmla="*/ 3968400 w 12192000"/>
              <a:gd name="connsiteY205" fmla="*/ 0 h 5538650"/>
              <a:gd name="connsiteX206" fmla="*/ 5951601 w 12192000"/>
              <a:gd name="connsiteY206" fmla="*/ 5538650 h 5538650"/>
              <a:gd name="connsiteX207" fmla="*/ 5934062 w 12192000"/>
              <a:gd name="connsiteY207" fmla="*/ 5538650 h 5538650"/>
              <a:gd name="connsiteX208" fmla="*/ 3615713 w 12192000"/>
              <a:gd name="connsiteY208" fmla="*/ 0 h 5538650"/>
              <a:gd name="connsiteX209" fmla="*/ 3631209 w 12192000"/>
              <a:gd name="connsiteY209" fmla="*/ 0 h 5538650"/>
              <a:gd name="connsiteX210" fmla="*/ 5926249 w 12192000"/>
              <a:gd name="connsiteY210" fmla="*/ 5538650 h 5538650"/>
              <a:gd name="connsiteX211" fmla="*/ 5909651 w 12192000"/>
              <a:gd name="connsiteY211" fmla="*/ 5538650 h 5538650"/>
              <a:gd name="connsiteX212" fmla="*/ 3264742 w 12192000"/>
              <a:gd name="connsiteY212" fmla="*/ 0 h 5538650"/>
              <a:gd name="connsiteX213" fmla="*/ 3281299 w 12192000"/>
              <a:gd name="connsiteY213" fmla="*/ 0 h 5538650"/>
              <a:gd name="connsiteX214" fmla="*/ 5901207 w 12192000"/>
              <a:gd name="connsiteY214" fmla="*/ 5538650 h 5538650"/>
              <a:gd name="connsiteX215" fmla="*/ 5882897 w 12192000"/>
              <a:gd name="connsiteY215" fmla="*/ 5538650 h 5538650"/>
              <a:gd name="connsiteX216" fmla="*/ 2897752 w 12192000"/>
              <a:gd name="connsiteY216" fmla="*/ 0 h 5538650"/>
              <a:gd name="connsiteX217" fmla="*/ 2914469 w 12192000"/>
              <a:gd name="connsiteY217" fmla="*/ 0 h 5538650"/>
              <a:gd name="connsiteX218" fmla="*/ 5873653 w 12192000"/>
              <a:gd name="connsiteY218" fmla="*/ 5538650 h 5538650"/>
              <a:gd name="connsiteX219" fmla="*/ 5857716 w 12192000"/>
              <a:gd name="connsiteY219" fmla="*/ 5538650 h 5538650"/>
              <a:gd name="connsiteX220" fmla="*/ 2509648 w 12192000"/>
              <a:gd name="connsiteY220" fmla="*/ 0 h 5538650"/>
              <a:gd name="connsiteX221" fmla="*/ 2526858 w 12192000"/>
              <a:gd name="connsiteY221" fmla="*/ 0 h 5538650"/>
              <a:gd name="connsiteX222" fmla="*/ 5847506 w 12192000"/>
              <a:gd name="connsiteY222" fmla="*/ 5538650 h 5538650"/>
              <a:gd name="connsiteX223" fmla="*/ 5829100 w 12192000"/>
              <a:gd name="connsiteY223" fmla="*/ 5538650 h 5538650"/>
              <a:gd name="connsiteX224" fmla="*/ 2098550 w 12192000"/>
              <a:gd name="connsiteY224" fmla="*/ 0 h 5538650"/>
              <a:gd name="connsiteX225" fmla="*/ 2117319 w 12192000"/>
              <a:gd name="connsiteY225" fmla="*/ 0 h 5538650"/>
              <a:gd name="connsiteX226" fmla="*/ 5817728 w 12192000"/>
              <a:gd name="connsiteY226" fmla="*/ 5538650 h 5538650"/>
              <a:gd name="connsiteX227" fmla="*/ 5800246 w 12192000"/>
              <a:gd name="connsiteY227" fmla="*/ 5538650 h 5538650"/>
              <a:gd name="connsiteX228" fmla="*/ 1660880 w 12192000"/>
              <a:gd name="connsiteY228" fmla="*/ 0 h 5538650"/>
              <a:gd name="connsiteX229" fmla="*/ 1679710 w 12192000"/>
              <a:gd name="connsiteY229" fmla="*/ 0 h 5538650"/>
              <a:gd name="connsiteX230" fmla="*/ 5787564 w 12192000"/>
              <a:gd name="connsiteY230" fmla="*/ 5538650 h 5538650"/>
              <a:gd name="connsiteX231" fmla="*/ 5767933 w 12192000"/>
              <a:gd name="connsiteY231" fmla="*/ 5538650 h 5538650"/>
              <a:gd name="connsiteX232" fmla="*/ 1186725 w 12192000"/>
              <a:gd name="connsiteY232" fmla="*/ 0 h 5538650"/>
              <a:gd name="connsiteX233" fmla="*/ 1207744 w 12192000"/>
              <a:gd name="connsiteY233" fmla="*/ 0 h 5538650"/>
              <a:gd name="connsiteX234" fmla="*/ 5753555 w 12192000"/>
              <a:gd name="connsiteY234" fmla="*/ 5538650 h 5538650"/>
              <a:gd name="connsiteX235" fmla="*/ 5731855 w 12192000"/>
              <a:gd name="connsiteY235" fmla="*/ 5538650 h 5538650"/>
              <a:gd name="connsiteX236" fmla="*/ 674537 w 12192000"/>
              <a:gd name="connsiteY236" fmla="*/ 0 h 5538650"/>
              <a:gd name="connsiteX237" fmla="*/ 697166 w 12192000"/>
              <a:gd name="connsiteY237" fmla="*/ 0 h 5538650"/>
              <a:gd name="connsiteX238" fmla="*/ 5715377 w 12192000"/>
              <a:gd name="connsiteY238" fmla="*/ 5538650 h 5538650"/>
              <a:gd name="connsiteX239" fmla="*/ 5695348 w 12192000"/>
              <a:gd name="connsiteY239" fmla="*/ 5538650 h 5538650"/>
              <a:gd name="connsiteX240" fmla="*/ 116766 w 12192000"/>
              <a:gd name="connsiteY240" fmla="*/ 0 h 5538650"/>
              <a:gd name="connsiteX241" fmla="*/ 137682 w 12192000"/>
              <a:gd name="connsiteY241" fmla="*/ 0 h 5538650"/>
              <a:gd name="connsiteX242" fmla="*/ 5676334 w 12192000"/>
              <a:gd name="connsiteY242" fmla="*/ 5538650 h 5538650"/>
              <a:gd name="connsiteX243" fmla="*/ 5655418 w 12192000"/>
              <a:gd name="connsiteY243" fmla="*/ 5538650 h 553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</a:cxnLst>
            <a:rect l="l" t="t" r="r" b="b"/>
            <a:pathLst>
              <a:path w="12192000" h="5538650">
                <a:moveTo>
                  <a:pt x="0" y="5361265"/>
                </a:moveTo>
                <a:lnTo>
                  <a:pt x="1803035" y="5538650"/>
                </a:lnTo>
                <a:lnTo>
                  <a:pt x="1651395" y="5538650"/>
                </a:lnTo>
                <a:lnTo>
                  <a:pt x="0" y="5375991"/>
                </a:lnTo>
                <a:close/>
                <a:moveTo>
                  <a:pt x="12192000" y="5361172"/>
                </a:moveTo>
                <a:lnTo>
                  <a:pt x="12192000" y="5375897"/>
                </a:lnTo>
                <a:lnTo>
                  <a:pt x="10539653" y="5538650"/>
                </a:lnTo>
                <a:lnTo>
                  <a:pt x="10388020" y="5538650"/>
                </a:lnTo>
                <a:close/>
                <a:moveTo>
                  <a:pt x="0" y="5056639"/>
                </a:moveTo>
                <a:lnTo>
                  <a:pt x="3245598" y="5538650"/>
                </a:lnTo>
                <a:lnTo>
                  <a:pt x="3144944" y="5538650"/>
                </a:lnTo>
                <a:lnTo>
                  <a:pt x="0" y="5071901"/>
                </a:lnTo>
                <a:close/>
                <a:moveTo>
                  <a:pt x="12192000" y="5056498"/>
                </a:moveTo>
                <a:lnTo>
                  <a:pt x="12192000" y="5071760"/>
                </a:lnTo>
                <a:lnTo>
                  <a:pt x="9046109" y="5538650"/>
                </a:lnTo>
                <a:lnTo>
                  <a:pt x="8945453" y="5538650"/>
                </a:lnTo>
                <a:close/>
                <a:moveTo>
                  <a:pt x="0" y="4748340"/>
                </a:moveTo>
                <a:lnTo>
                  <a:pt x="3970783" y="5538650"/>
                </a:lnTo>
                <a:lnTo>
                  <a:pt x="3890323" y="5538650"/>
                </a:lnTo>
                <a:lnTo>
                  <a:pt x="0" y="4764446"/>
                </a:lnTo>
                <a:close/>
                <a:moveTo>
                  <a:pt x="12192000" y="4748152"/>
                </a:moveTo>
                <a:lnTo>
                  <a:pt x="12192000" y="4764257"/>
                </a:lnTo>
                <a:lnTo>
                  <a:pt x="8300729" y="5538650"/>
                </a:lnTo>
                <a:lnTo>
                  <a:pt x="8220271" y="5538650"/>
                </a:lnTo>
                <a:close/>
                <a:moveTo>
                  <a:pt x="0" y="4434761"/>
                </a:moveTo>
                <a:lnTo>
                  <a:pt x="4407134" y="5538650"/>
                </a:lnTo>
                <a:lnTo>
                  <a:pt x="4344675" y="5538650"/>
                </a:lnTo>
                <a:lnTo>
                  <a:pt x="0" y="4450278"/>
                </a:lnTo>
                <a:close/>
                <a:moveTo>
                  <a:pt x="12192000" y="4434523"/>
                </a:moveTo>
                <a:lnTo>
                  <a:pt x="12192000" y="4450039"/>
                </a:lnTo>
                <a:lnTo>
                  <a:pt x="7846376" y="5538650"/>
                </a:lnTo>
                <a:lnTo>
                  <a:pt x="7783917" y="5538650"/>
                </a:lnTo>
                <a:close/>
                <a:moveTo>
                  <a:pt x="0" y="4112365"/>
                </a:moveTo>
                <a:lnTo>
                  <a:pt x="4700598" y="5538650"/>
                </a:lnTo>
                <a:lnTo>
                  <a:pt x="4648976" y="5538650"/>
                </a:lnTo>
                <a:lnTo>
                  <a:pt x="0" y="4127856"/>
                </a:lnTo>
                <a:close/>
                <a:moveTo>
                  <a:pt x="12192000" y="4111926"/>
                </a:moveTo>
                <a:lnTo>
                  <a:pt x="12192000" y="4127568"/>
                </a:lnTo>
                <a:lnTo>
                  <a:pt x="7542076" y="5538650"/>
                </a:lnTo>
                <a:lnTo>
                  <a:pt x="7488819" y="5538650"/>
                </a:lnTo>
                <a:close/>
                <a:moveTo>
                  <a:pt x="0" y="3780425"/>
                </a:moveTo>
                <a:lnTo>
                  <a:pt x="4916015" y="5538650"/>
                </a:lnTo>
                <a:lnTo>
                  <a:pt x="4867902" y="5538650"/>
                </a:lnTo>
                <a:lnTo>
                  <a:pt x="0" y="3795622"/>
                </a:lnTo>
                <a:close/>
                <a:moveTo>
                  <a:pt x="12192000" y="3780085"/>
                </a:moveTo>
                <a:lnTo>
                  <a:pt x="12192000" y="3794601"/>
                </a:lnTo>
                <a:lnTo>
                  <a:pt x="7321249" y="5538650"/>
                </a:lnTo>
                <a:lnTo>
                  <a:pt x="7275037" y="5538650"/>
                </a:lnTo>
                <a:close/>
                <a:moveTo>
                  <a:pt x="0" y="3435799"/>
                </a:moveTo>
                <a:lnTo>
                  <a:pt x="5077278" y="5538650"/>
                </a:lnTo>
                <a:lnTo>
                  <a:pt x="5037506" y="5538650"/>
                </a:lnTo>
                <a:lnTo>
                  <a:pt x="0" y="3451269"/>
                </a:lnTo>
                <a:close/>
                <a:moveTo>
                  <a:pt x="12192000" y="3435405"/>
                </a:moveTo>
                <a:lnTo>
                  <a:pt x="12192000" y="3450875"/>
                </a:lnTo>
                <a:lnTo>
                  <a:pt x="7153546" y="5538650"/>
                </a:lnTo>
                <a:lnTo>
                  <a:pt x="7113776" y="5538650"/>
                </a:lnTo>
                <a:close/>
                <a:moveTo>
                  <a:pt x="0" y="3077379"/>
                </a:moveTo>
                <a:lnTo>
                  <a:pt x="5206769" y="5538650"/>
                </a:lnTo>
                <a:lnTo>
                  <a:pt x="5168362" y="5538650"/>
                </a:lnTo>
                <a:lnTo>
                  <a:pt x="0" y="3093896"/>
                </a:lnTo>
                <a:close/>
                <a:moveTo>
                  <a:pt x="12192000" y="3076929"/>
                </a:moveTo>
                <a:lnTo>
                  <a:pt x="12192000" y="3093447"/>
                </a:lnTo>
                <a:lnTo>
                  <a:pt x="7022692" y="5538650"/>
                </a:lnTo>
                <a:lnTo>
                  <a:pt x="6984285" y="5538650"/>
                </a:lnTo>
                <a:close/>
                <a:moveTo>
                  <a:pt x="0" y="2702539"/>
                </a:moveTo>
                <a:lnTo>
                  <a:pt x="5306906" y="5538650"/>
                </a:lnTo>
                <a:lnTo>
                  <a:pt x="5276980" y="5538650"/>
                </a:lnTo>
                <a:lnTo>
                  <a:pt x="0" y="2719272"/>
                </a:lnTo>
                <a:close/>
                <a:moveTo>
                  <a:pt x="12192000" y="2702031"/>
                </a:moveTo>
                <a:lnTo>
                  <a:pt x="12192000" y="2718765"/>
                </a:lnTo>
                <a:lnTo>
                  <a:pt x="6914075" y="5538650"/>
                </a:lnTo>
                <a:lnTo>
                  <a:pt x="6884146" y="5538650"/>
                </a:lnTo>
                <a:close/>
                <a:moveTo>
                  <a:pt x="0" y="2306178"/>
                </a:moveTo>
                <a:lnTo>
                  <a:pt x="5393525" y="5538650"/>
                </a:lnTo>
                <a:lnTo>
                  <a:pt x="5362926" y="5538650"/>
                </a:lnTo>
                <a:lnTo>
                  <a:pt x="0" y="2323359"/>
                </a:lnTo>
                <a:close/>
                <a:moveTo>
                  <a:pt x="12192000" y="2305608"/>
                </a:moveTo>
                <a:lnTo>
                  <a:pt x="12192000" y="2322789"/>
                </a:lnTo>
                <a:lnTo>
                  <a:pt x="6828126" y="5538650"/>
                </a:lnTo>
                <a:lnTo>
                  <a:pt x="6797528" y="5538650"/>
                </a:lnTo>
                <a:close/>
                <a:moveTo>
                  <a:pt x="0" y="1886298"/>
                </a:moveTo>
                <a:lnTo>
                  <a:pt x="5464823" y="5538650"/>
                </a:lnTo>
                <a:lnTo>
                  <a:pt x="5438585" y="5538650"/>
                </a:lnTo>
                <a:lnTo>
                  <a:pt x="0" y="1905097"/>
                </a:lnTo>
                <a:close/>
                <a:moveTo>
                  <a:pt x="12192000" y="1885663"/>
                </a:moveTo>
                <a:lnTo>
                  <a:pt x="12192000" y="1904462"/>
                </a:lnTo>
                <a:lnTo>
                  <a:pt x="6752468" y="5538650"/>
                </a:lnTo>
                <a:lnTo>
                  <a:pt x="6726230" y="5538650"/>
                </a:lnTo>
                <a:close/>
                <a:moveTo>
                  <a:pt x="0" y="1439316"/>
                </a:moveTo>
                <a:lnTo>
                  <a:pt x="5528242" y="5538650"/>
                </a:lnTo>
                <a:lnTo>
                  <a:pt x="5501801" y="5538650"/>
                </a:lnTo>
                <a:lnTo>
                  <a:pt x="0" y="1458129"/>
                </a:lnTo>
                <a:close/>
                <a:moveTo>
                  <a:pt x="12192000" y="1438611"/>
                </a:moveTo>
                <a:lnTo>
                  <a:pt x="12192000" y="1457424"/>
                </a:lnTo>
                <a:lnTo>
                  <a:pt x="6689252" y="5538650"/>
                </a:lnTo>
                <a:lnTo>
                  <a:pt x="6662810" y="5538650"/>
                </a:lnTo>
                <a:close/>
                <a:moveTo>
                  <a:pt x="0" y="955098"/>
                </a:moveTo>
                <a:lnTo>
                  <a:pt x="5585473" y="5538650"/>
                </a:lnTo>
                <a:lnTo>
                  <a:pt x="5559044" y="5538650"/>
                </a:lnTo>
                <a:lnTo>
                  <a:pt x="0" y="976103"/>
                </a:lnTo>
                <a:close/>
                <a:moveTo>
                  <a:pt x="12192000" y="954319"/>
                </a:moveTo>
                <a:lnTo>
                  <a:pt x="12192000" y="975322"/>
                </a:lnTo>
                <a:lnTo>
                  <a:pt x="6632007" y="5538650"/>
                </a:lnTo>
                <a:lnTo>
                  <a:pt x="6605580" y="5538650"/>
                </a:lnTo>
                <a:close/>
                <a:moveTo>
                  <a:pt x="0" y="431985"/>
                </a:moveTo>
                <a:lnTo>
                  <a:pt x="5633364" y="5538650"/>
                </a:lnTo>
                <a:lnTo>
                  <a:pt x="5611239" y="5538650"/>
                </a:lnTo>
                <a:lnTo>
                  <a:pt x="0" y="454672"/>
                </a:lnTo>
                <a:close/>
                <a:moveTo>
                  <a:pt x="12192000" y="431124"/>
                </a:moveTo>
                <a:lnTo>
                  <a:pt x="12192000" y="453812"/>
                </a:lnTo>
                <a:lnTo>
                  <a:pt x="6579814" y="5538650"/>
                </a:lnTo>
                <a:lnTo>
                  <a:pt x="6557689" y="5538650"/>
                </a:lnTo>
                <a:close/>
                <a:moveTo>
                  <a:pt x="12053367" y="0"/>
                </a:moveTo>
                <a:lnTo>
                  <a:pt x="12074285" y="0"/>
                </a:lnTo>
                <a:lnTo>
                  <a:pt x="6535635" y="5538650"/>
                </a:lnTo>
                <a:lnTo>
                  <a:pt x="6514718" y="5538650"/>
                </a:lnTo>
                <a:close/>
                <a:moveTo>
                  <a:pt x="11493886" y="0"/>
                </a:moveTo>
                <a:lnTo>
                  <a:pt x="11516512" y="0"/>
                </a:lnTo>
                <a:lnTo>
                  <a:pt x="6495704" y="5538650"/>
                </a:lnTo>
                <a:lnTo>
                  <a:pt x="6475677" y="5538650"/>
                </a:lnTo>
                <a:close/>
                <a:moveTo>
                  <a:pt x="10983307" y="0"/>
                </a:moveTo>
                <a:lnTo>
                  <a:pt x="11004326" y="0"/>
                </a:lnTo>
                <a:lnTo>
                  <a:pt x="6459200" y="5538650"/>
                </a:lnTo>
                <a:lnTo>
                  <a:pt x="6437499" y="5538650"/>
                </a:lnTo>
                <a:close/>
                <a:moveTo>
                  <a:pt x="10511339" y="0"/>
                </a:moveTo>
                <a:lnTo>
                  <a:pt x="10530171" y="0"/>
                </a:lnTo>
                <a:lnTo>
                  <a:pt x="6423121" y="5538650"/>
                </a:lnTo>
                <a:lnTo>
                  <a:pt x="6403488" y="5538650"/>
                </a:lnTo>
                <a:close/>
                <a:moveTo>
                  <a:pt x="10073731" y="0"/>
                </a:moveTo>
                <a:lnTo>
                  <a:pt x="10092501" y="0"/>
                </a:lnTo>
                <a:lnTo>
                  <a:pt x="6390805" y="5538650"/>
                </a:lnTo>
                <a:lnTo>
                  <a:pt x="6373323" y="5538650"/>
                </a:lnTo>
                <a:close/>
                <a:moveTo>
                  <a:pt x="9664192" y="0"/>
                </a:moveTo>
                <a:lnTo>
                  <a:pt x="9681401" y="0"/>
                </a:lnTo>
                <a:lnTo>
                  <a:pt x="6361951" y="5538650"/>
                </a:lnTo>
                <a:lnTo>
                  <a:pt x="6343546" y="5538650"/>
                </a:lnTo>
                <a:close/>
                <a:moveTo>
                  <a:pt x="9276175" y="0"/>
                </a:moveTo>
                <a:lnTo>
                  <a:pt x="9293298" y="0"/>
                </a:lnTo>
                <a:lnTo>
                  <a:pt x="6333336" y="5538650"/>
                </a:lnTo>
                <a:lnTo>
                  <a:pt x="6315537" y="5538650"/>
                </a:lnTo>
                <a:close/>
                <a:moveTo>
                  <a:pt x="8909752" y="0"/>
                </a:moveTo>
                <a:lnTo>
                  <a:pt x="8925866" y="0"/>
                </a:lnTo>
                <a:lnTo>
                  <a:pt x="6306292" y="5538650"/>
                </a:lnTo>
                <a:lnTo>
                  <a:pt x="6289844" y="5538650"/>
                </a:lnTo>
                <a:close/>
                <a:moveTo>
                  <a:pt x="8559841" y="0"/>
                </a:moveTo>
                <a:lnTo>
                  <a:pt x="8575337" y="0"/>
                </a:lnTo>
                <a:lnTo>
                  <a:pt x="6281400" y="5538650"/>
                </a:lnTo>
                <a:lnTo>
                  <a:pt x="6264803" y="5538650"/>
                </a:lnTo>
                <a:close/>
                <a:moveTo>
                  <a:pt x="8222650" y="0"/>
                </a:moveTo>
                <a:lnTo>
                  <a:pt x="8237900" y="0"/>
                </a:lnTo>
                <a:lnTo>
                  <a:pt x="6256989" y="5538650"/>
                </a:lnTo>
                <a:lnTo>
                  <a:pt x="6239450" y="5538650"/>
                </a:lnTo>
                <a:close/>
                <a:moveTo>
                  <a:pt x="7897363" y="0"/>
                </a:moveTo>
                <a:lnTo>
                  <a:pt x="7912859" y="0"/>
                </a:lnTo>
                <a:lnTo>
                  <a:pt x="6232286" y="5538650"/>
                </a:lnTo>
                <a:lnTo>
                  <a:pt x="6216587" y="5538650"/>
                </a:lnTo>
                <a:close/>
                <a:moveTo>
                  <a:pt x="7581679" y="0"/>
                </a:moveTo>
                <a:lnTo>
                  <a:pt x="7597201" y="0"/>
                </a:lnTo>
                <a:lnTo>
                  <a:pt x="6209892" y="5538650"/>
                </a:lnTo>
                <a:lnTo>
                  <a:pt x="6194207" y="5538650"/>
                </a:lnTo>
                <a:close/>
                <a:moveTo>
                  <a:pt x="7274063" y="0"/>
                </a:moveTo>
                <a:lnTo>
                  <a:pt x="7290165" y="0"/>
                </a:lnTo>
                <a:lnTo>
                  <a:pt x="6187801" y="5538650"/>
                </a:lnTo>
                <a:lnTo>
                  <a:pt x="6171830" y="5538650"/>
                </a:lnTo>
                <a:close/>
                <a:moveTo>
                  <a:pt x="6973046" y="0"/>
                </a:moveTo>
                <a:lnTo>
                  <a:pt x="6988294" y="0"/>
                </a:lnTo>
                <a:lnTo>
                  <a:pt x="6165737" y="5538650"/>
                </a:lnTo>
                <a:lnTo>
                  <a:pt x="6151040" y="5538650"/>
                </a:lnTo>
                <a:close/>
                <a:moveTo>
                  <a:pt x="6675307" y="0"/>
                </a:moveTo>
                <a:lnTo>
                  <a:pt x="6690046" y="0"/>
                </a:lnTo>
                <a:lnTo>
                  <a:pt x="6145146" y="5538650"/>
                </a:lnTo>
                <a:lnTo>
                  <a:pt x="6129760" y="5538650"/>
                </a:lnTo>
                <a:close/>
                <a:moveTo>
                  <a:pt x="6379954" y="0"/>
                </a:moveTo>
                <a:lnTo>
                  <a:pt x="6396479" y="0"/>
                </a:lnTo>
                <a:lnTo>
                  <a:pt x="6124045" y="5538650"/>
                </a:lnTo>
                <a:lnTo>
                  <a:pt x="6108806" y="5538650"/>
                </a:lnTo>
                <a:close/>
                <a:moveTo>
                  <a:pt x="6087918" y="0"/>
                </a:moveTo>
                <a:lnTo>
                  <a:pt x="6103132" y="0"/>
                </a:lnTo>
                <a:lnTo>
                  <a:pt x="6103132" y="5538650"/>
                </a:lnTo>
                <a:lnTo>
                  <a:pt x="6087918" y="5538650"/>
                </a:lnTo>
                <a:close/>
                <a:moveTo>
                  <a:pt x="5794572" y="0"/>
                </a:moveTo>
                <a:lnTo>
                  <a:pt x="5811095" y="0"/>
                </a:lnTo>
                <a:lnTo>
                  <a:pt x="6082245" y="5538650"/>
                </a:lnTo>
                <a:lnTo>
                  <a:pt x="6067007" y="5538650"/>
                </a:lnTo>
                <a:close/>
                <a:moveTo>
                  <a:pt x="5501006" y="0"/>
                </a:moveTo>
                <a:lnTo>
                  <a:pt x="5515746" y="0"/>
                </a:lnTo>
                <a:lnTo>
                  <a:pt x="6061292" y="5538650"/>
                </a:lnTo>
                <a:lnTo>
                  <a:pt x="6045905" y="5538650"/>
                </a:lnTo>
                <a:close/>
                <a:moveTo>
                  <a:pt x="5202758" y="0"/>
                </a:moveTo>
                <a:lnTo>
                  <a:pt x="5218008" y="0"/>
                </a:lnTo>
                <a:lnTo>
                  <a:pt x="6040011" y="5538650"/>
                </a:lnTo>
                <a:lnTo>
                  <a:pt x="6025314" y="5538650"/>
                </a:lnTo>
                <a:close/>
                <a:moveTo>
                  <a:pt x="4900888" y="0"/>
                </a:moveTo>
                <a:lnTo>
                  <a:pt x="4916988" y="0"/>
                </a:lnTo>
                <a:lnTo>
                  <a:pt x="6019222" y="5538650"/>
                </a:lnTo>
                <a:lnTo>
                  <a:pt x="6003250" y="5538650"/>
                </a:lnTo>
                <a:close/>
                <a:moveTo>
                  <a:pt x="4593851" y="0"/>
                </a:moveTo>
                <a:lnTo>
                  <a:pt x="4609374" y="0"/>
                </a:lnTo>
                <a:lnTo>
                  <a:pt x="5996844" y="5538650"/>
                </a:lnTo>
                <a:lnTo>
                  <a:pt x="5981160" y="5538650"/>
                </a:lnTo>
                <a:close/>
                <a:moveTo>
                  <a:pt x="4278194" y="0"/>
                </a:moveTo>
                <a:lnTo>
                  <a:pt x="4293688" y="0"/>
                </a:lnTo>
                <a:lnTo>
                  <a:pt x="5974465" y="5538650"/>
                </a:lnTo>
                <a:lnTo>
                  <a:pt x="5958765" y="5538650"/>
                </a:lnTo>
                <a:close/>
                <a:moveTo>
                  <a:pt x="3953150" y="0"/>
                </a:moveTo>
                <a:lnTo>
                  <a:pt x="3968400" y="0"/>
                </a:lnTo>
                <a:lnTo>
                  <a:pt x="5951601" y="5538650"/>
                </a:lnTo>
                <a:lnTo>
                  <a:pt x="5934062" y="5538650"/>
                </a:lnTo>
                <a:close/>
                <a:moveTo>
                  <a:pt x="3615713" y="0"/>
                </a:moveTo>
                <a:lnTo>
                  <a:pt x="3631209" y="0"/>
                </a:lnTo>
                <a:lnTo>
                  <a:pt x="5926249" y="5538650"/>
                </a:lnTo>
                <a:lnTo>
                  <a:pt x="5909651" y="5538650"/>
                </a:lnTo>
                <a:close/>
                <a:moveTo>
                  <a:pt x="3264742" y="0"/>
                </a:moveTo>
                <a:lnTo>
                  <a:pt x="3281299" y="0"/>
                </a:lnTo>
                <a:lnTo>
                  <a:pt x="5901207" y="5538650"/>
                </a:lnTo>
                <a:lnTo>
                  <a:pt x="5882897" y="5538650"/>
                </a:lnTo>
                <a:close/>
                <a:moveTo>
                  <a:pt x="2897752" y="0"/>
                </a:moveTo>
                <a:lnTo>
                  <a:pt x="2914469" y="0"/>
                </a:lnTo>
                <a:lnTo>
                  <a:pt x="5873653" y="5538650"/>
                </a:lnTo>
                <a:lnTo>
                  <a:pt x="5857716" y="5538650"/>
                </a:lnTo>
                <a:close/>
                <a:moveTo>
                  <a:pt x="2509648" y="0"/>
                </a:moveTo>
                <a:lnTo>
                  <a:pt x="2526858" y="0"/>
                </a:lnTo>
                <a:lnTo>
                  <a:pt x="5847506" y="5538650"/>
                </a:lnTo>
                <a:lnTo>
                  <a:pt x="5829100" y="5538650"/>
                </a:lnTo>
                <a:close/>
                <a:moveTo>
                  <a:pt x="2098550" y="0"/>
                </a:moveTo>
                <a:lnTo>
                  <a:pt x="2117319" y="0"/>
                </a:lnTo>
                <a:lnTo>
                  <a:pt x="5817728" y="5538650"/>
                </a:lnTo>
                <a:lnTo>
                  <a:pt x="5800246" y="5538650"/>
                </a:lnTo>
                <a:close/>
                <a:moveTo>
                  <a:pt x="1660880" y="0"/>
                </a:moveTo>
                <a:lnTo>
                  <a:pt x="1679710" y="0"/>
                </a:lnTo>
                <a:lnTo>
                  <a:pt x="5787564" y="5538650"/>
                </a:lnTo>
                <a:lnTo>
                  <a:pt x="5767933" y="5538650"/>
                </a:lnTo>
                <a:close/>
                <a:moveTo>
                  <a:pt x="1186725" y="0"/>
                </a:moveTo>
                <a:lnTo>
                  <a:pt x="1207744" y="0"/>
                </a:lnTo>
                <a:lnTo>
                  <a:pt x="5753555" y="5538650"/>
                </a:lnTo>
                <a:lnTo>
                  <a:pt x="5731855" y="5538650"/>
                </a:lnTo>
                <a:close/>
                <a:moveTo>
                  <a:pt x="674537" y="0"/>
                </a:moveTo>
                <a:lnTo>
                  <a:pt x="697166" y="0"/>
                </a:lnTo>
                <a:lnTo>
                  <a:pt x="5715377" y="5538650"/>
                </a:lnTo>
                <a:lnTo>
                  <a:pt x="5695348" y="5538650"/>
                </a:lnTo>
                <a:close/>
                <a:moveTo>
                  <a:pt x="116766" y="0"/>
                </a:moveTo>
                <a:lnTo>
                  <a:pt x="137682" y="0"/>
                </a:lnTo>
                <a:lnTo>
                  <a:pt x="5676334" y="5538650"/>
                </a:lnTo>
                <a:lnTo>
                  <a:pt x="5655418" y="553865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2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/>
          </a:p>
        </p:txBody>
      </p:sp>
      <p:sp>
        <p:nvSpPr>
          <p:cNvPr id="70" name="Rectangle 69"/>
          <p:cNvSpPr/>
          <p:nvPr userDrawn="1"/>
        </p:nvSpPr>
        <p:spPr>
          <a:xfrm>
            <a:off x="841248" y="839023"/>
            <a:ext cx="10509506" cy="3849061"/>
          </a:xfrm>
          <a:prstGeom prst="rect">
            <a:avLst/>
          </a:prstGeom>
          <a:solidFill>
            <a:schemeClr val="bg2">
              <a:lumMod val="7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4550305" y="5835739"/>
            <a:ext cx="3091390" cy="846443"/>
            <a:chOff x="935039" y="3687590"/>
            <a:chExt cx="9088528" cy="2488499"/>
          </a:xfrm>
        </p:grpSpPr>
        <p:grpSp>
          <p:nvGrpSpPr>
            <p:cNvPr id="35" name="Group 34"/>
            <p:cNvGrpSpPr/>
            <p:nvPr userDrawn="1"/>
          </p:nvGrpSpPr>
          <p:grpSpPr>
            <a:xfrm>
              <a:off x="935039" y="3687590"/>
              <a:ext cx="9088528" cy="1085320"/>
              <a:chOff x="1236663" y="4017963"/>
              <a:chExt cx="4862512" cy="580665"/>
            </a:xfrm>
          </p:grpSpPr>
          <p:grpSp>
            <p:nvGrpSpPr>
              <p:cNvPr id="82" name="Group 81"/>
              <p:cNvGrpSpPr/>
              <p:nvPr userDrawn="1"/>
            </p:nvGrpSpPr>
            <p:grpSpPr>
              <a:xfrm>
                <a:off x="1236663" y="4017963"/>
                <a:ext cx="3342915" cy="580665"/>
                <a:chOff x="1236663" y="4017963"/>
                <a:chExt cx="3342915" cy="580665"/>
              </a:xfrm>
            </p:grpSpPr>
            <p:sp>
              <p:nvSpPr>
                <p:cNvPr id="84" name="Freeform 83"/>
                <p:cNvSpPr>
                  <a:spLocks noChangeArrowheads="1"/>
                </p:cNvSpPr>
                <p:nvPr/>
              </p:nvSpPr>
              <p:spPr bwMode="auto">
                <a:xfrm>
                  <a:off x="3448050" y="4017963"/>
                  <a:ext cx="1131528" cy="580665"/>
                </a:xfrm>
                <a:custGeom>
                  <a:avLst/>
                  <a:gdLst>
                    <a:gd name="connsiteX0" fmla="*/ 840120 w 1131528"/>
                    <a:gd name="connsiteY0" fmla="*/ 206375 h 580665"/>
                    <a:gd name="connsiteX1" fmla="*/ 902929 w 1131528"/>
                    <a:gd name="connsiteY1" fmla="*/ 321903 h 580665"/>
                    <a:gd name="connsiteX2" fmla="*/ 779463 w 1131528"/>
                    <a:gd name="connsiteY2" fmla="*/ 321903 h 580665"/>
                    <a:gd name="connsiteX3" fmla="*/ 784003 w 1131528"/>
                    <a:gd name="connsiteY3" fmla="*/ 145346 h 580665"/>
                    <a:gd name="connsiteX4" fmla="*/ 620504 w 1131528"/>
                    <a:gd name="connsiteY4" fmla="*/ 435679 h 580665"/>
                    <a:gd name="connsiteX5" fmla="*/ 720980 w 1131528"/>
                    <a:gd name="connsiteY5" fmla="*/ 435679 h 580665"/>
                    <a:gd name="connsiteX6" fmla="*/ 748350 w 1131528"/>
                    <a:gd name="connsiteY6" fmla="*/ 383872 h 580665"/>
                    <a:gd name="connsiteX7" fmla="*/ 935617 w 1131528"/>
                    <a:gd name="connsiteY7" fmla="*/ 383872 h 580665"/>
                    <a:gd name="connsiteX8" fmla="*/ 964068 w 1131528"/>
                    <a:gd name="connsiteY8" fmla="*/ 435679 h 580665"/>
                    <a:gd name="connsiteX9" fmla="*/ 1061663 w 1131528"/>
                    <a:gd name="connsiteY9" fmla="*/ 435679 h 580665"/>
                    <a:gd name="connsiteX10" fmla="*/ 902846 w 1131528"/>
                    <a:gd name="connsiteY10" fmla="*/ 145346 h 580665"/>
                    <a:gd name="connsiteX11" fmla="*/ 288464 w 1131528"/>
                    <a:gd name="connsiteY11" fmla="*/ 144267 h 580665"/>
                    <a:gd name="connsiteX12" fmla="*/ 179705 w 1131528"/>
                    <a:gd name="connsiteY12" fmla="*/ 149304 h 580665"/>
                    <a:gd name="connsiteX13" fmla="*/ 107679 w 1131528"/>
                    <a:gd name="connsiteY13" fmla="*/ 237807 h 580665"/>
                    <a:gd name="connsiteX14" fmla="*/ 150174 w 1131528"/>
                    <a:gd name="connsiteY14" fmla="*/ 315876 h 580665"/>
                    <a:gd name="connsiteX15" fmla="*/ 232644 w 1131528"/>
                    <a:gd name="connsiteY15" fmla="*/ 323072 h 580665"/>
                    <a:gd name="connsiteX16" fmla="*/ 312953 w 1131528"/>
                    <a:gd name="connsiteY16" fmla="*/ 323072 h 580665"/>
                    <a:gd name="connsiteX17" fmla="*/ 356169 w 1131528"/>
                    <a:gd name="connsiteY17" fmla="*/ 323791 h 580665"/>
                    <a:gd name="connsiteX18" fmla="*/ 382818 w 1131528"/>
                    <a:gd name="connsiteY18" fmla="*/ 348255 h 580665"/>
                    <a:gd name="connsiteX19" fmla="*/ 268297 w 1131528"/>
                    <a:gd name="connsiteY19" fmla="*/ 376677 h 580665"/>
                    <a:gd name="connsiteX20" fmla="*/ 213197 w 1131528"/>
                    <a:gd name="connsiteY20" fmla="*/ 373799 h 580665"/>
                    <a:gd name="connsiteX21" fmla="*/ 195911 w 1131528"/>
                    <a:gd name="connsiteY21" fmla="*/ 343219 h 580665"/>
                    <a:gd name="connsiteX22" fmla="*/ 109480 w 1131528"/>
                    <a:gd name="connsiteY22" fmla="*/ 343219 h 580665"/>
                    <a:gd name="connsiteX23" fmla="*/ 109480 w 1131528"/>
                    <a:gd name="connsiteY23" fmla="*/ 360488 h 580665"/>
                    <a:gd name="connsiteX24" fmla="*/ 156296 w 1131528"/>
                    <a:gd name="connsiteY24" fmla="*/ 430642 h 580665"/>
                    <a:gd name="connsiteX25" fmla="*/ 273339 w 1131528"/>
                    <a:gd name="connsiteY25" fmla="*/ 437838 h 580665"/>
                    <a:gd name="connsiteX26" fmla="*/ 394702 w 1131528"/>
                    <a:gd name="connsiteY26" fmla="*/ 433520 h 580665"/>
                    <a:gd name="connsiteX27" fmla="*/ 468889 w 1131528"/>
                    <a:gd name="connsiteY27" fmla="*/ 347176 h 580665"/>
                    <a:gd name="connsiteX28" fmla="*/ 450883 w 1131528"/>
                    <a:gd name="connsiteY28" fmla="*/ 282418 h 580665"/>
                    <a:gd name="connsiteX29" fmla="*/ 375616 w 1131528"/>
                    <a:gd name="connsiteY29" fmla="*/ 260112 h 580665"/>
                    <a:gd name="connsiteX30" fmla="*/ 330239 w 1131528"/>
                    <a:gd name="connsiteY30" fmla="*/ 259033 h 580665"/>
                    <a:gd name="connsiteX31" fmla="*/ 247769 w 1131528"/>
                    <a:gd name="connsiteY31" fmla="*/ 259033 h 580665"/>
                    <a:gd name="connsiteX32" fmla="*/ 213197 w 1131528"/>
                    <a:gd name="connsiteY32" fmla="*/ 256874 h 580665"/>
                    <a:gd name="connsiteX33" fmla="*/ 194110 w 1131528"/>
                    <a:gd name="connsiteY33" fmla="*/ 233490 h 580665"/>
                    <a:gd name="connsiteX34" fmla="*/ 223281 w 1131528"/>
                    <a:gd name="connsiteY34" fmla="*/ 209385 h 580665"/>
                    <a:gd name="connsiteX35" fmla="*/ 302869 w 1131528"/>
                    <a:gd name="connsiteY35" fmla="*/ 207226 h 580665"/>
                    <a:gd name="connsiteX36" fmla="*/ 370574 w 1131528"/>
                    <a:gd name="connsiteY36" fmla="*/ 235648 h 580665"/>
                    <a:gd name="connsiteX37" fmla="*/ 457005 w 1131528"/>
                    <a:gd name="connsiteY37" fmla="*/ 235648 h 580665"/>
                    <a:gd name="connsiteX38" fmla="*/ 418111 w 1131528"/>
                    <a:gd name="connsiteY38" fmla="*/ 154341 h 580665"/>
                    <a:gd name="connsiteX39" fmla="*/ 288464 w 1131528"/>
                    <a:gd name="connsiteY39" fmla="*/ 144267 h 580665"/>
                    <a:gd name="connsiteX40" fmla="*/ 290625 w 1131528"/>
                    <a:gd name="connsiteY40" fmla="*/ 0 h 580665"/>
                    <a:gd name="connsiteX41" fmla="*/ 565404 w 1131528"/>
                    <a:gd name="connsiteY41" fmla="*/ 198952 h 580665"/>
                    <a:gd name="connsiteX42" fmla="*/ 840903 w 1131528"/>
                    <a:gd name="connsiteY42" fmla="*/ 0 h 580665"/>
                    <a:gd name="connsiteX43" fmla="*/ 1131528 w 1131528"/>
                    <a:gd name="connsiteY43" fmla="*/ 290333 h 580665"/>
                    <a:gd name="connsiteX44" fmla="*/ 840903 w 1131528"/>
                    <a:gd name="connsiteY44" fmla="*/ 580665 h 580665"/>
                    <a:gd name="connsiteX45" fmla="*/ 565404 w 1131528"/>
                    <a:gd name="connsiteY45" fmla="*/ 381714 h 580665"/>
                    <a:gd name="connsiteX46" fmla="*/ 290625 w 1131528"/>
                    <a:gd name="connsiteY46" fmla="*/ 580665 h 580665"/>
                    <a:gd name="connsiteX47" fmla="*/ 0 w 1131528"/>
                    <a:gd name="connsiteY47" fmla="*/ 290333 h 580665"/>
                    <a:gd name="connsiteX48" fmla="*/ 290625 w 1131528"/>
                    <a:gd name="connsiteY48" fmla="*/ 0 h 5806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1131528" h="580665">
                      <a:moveTo>
                        <a:pt x="840120" y="206375"/>
                      </a:moveTo>
                      <a:lnTo>
                        <a:pt x="902929" y="321903"/>
                      </a:lnTo>
                      <a:lnTo>
                        <a:pt x="779463" y="321903"/>
                      </a:lnTo>
                      <a:close/>
                      <a:moveTo>
                        <a:pt x="784003" y="145346"/>
                      </a:moveTo>
                      <a:lnTo>
                        <a:pt x="620504" y="435679"/>
                      </a:lnTo>
                      <a:lnTo>
                        <a:pt x="720980" y="435679"/>
                      </a:lnTo>
                      <a:lnTo>
                        <a:pt x="748350" y="383872"/>
                      </a:lnTo>
                      <a:lnTo>
                        <a:pt x="935617" y="383872"/>
                      </a:lnTo>
                      <a:lnTo>
                        <a:pt x="964068" y="435679"/>
                      </a:lnTo>
                      <a:lnTo>
                        <a:pt x="1061663" y="435679"/>
                      </a:lnTo>
                      <a:lnTo>
                        <a:pt x="902846" y="145346"/>
                      </a:lnTo>
                      <a:close/>
                      <a:moveTo>
                        <a:pt x="288464" y="144267"/>
                      </a:moveTo>
                      <a:cubicBezTo>
                        <a:pt x="232644" y="144267"/>
                        <a:pt x="208155" y="145346"/>
                        <a:pt x="179705" y="149304"/>
                      </a:cubicBezTo>
                      <a:cubicBezTo>
                        <a:pt x="126046" y="156499"/>
                        <a:pt x="107679" y="179884"/>
                        <a:pt x="107679" y="237807"/>
                      </a:cubicBezTo>
                      <a:cubicBezTo>
                        <a:pt x="107679" y="283497"/>
                        <a:pt x="119563" y="305803"/>
                        <a:pt x="150174" y="315876"/>
                      </a:cubicBezTo>
                      <a:cubicBezTo>
                        <a:pt x="165300" y="320913"/>
                        <a:pt x="189789" y="323072"/>
                        <a:pt x="232644" y="323072"/>
                      </a:cubicBezTo>
                      <a:lnTo>
                        <a:pt x="312953" y="323072"/>
                      </a:lnTo>
                      <a:cubicBezTo>
                        <a:pt x="348966" y="323072"/>
                        <a:pt x="351127" y="323791"/>
                        <a:pt x="356169" y="323791"/>
                      </a:cubicBezTo>
                      <a:cubicBezTo>
                        <a:pt x="373455" y="324871"/>
                        <a:pt x="382818" y="333145"/>
                        <a:pt x="382818" y="348255"/>
                      </a:cubicBezTo>
                      <a:cubicBezTo>
                        <a:pt x="382818" y="373799"/>
                        <a:pt x="371294" y="376677"/>
                        <a:pt x="268297" y="376677"/>
                      </a:cubicBezTo>
                      <a:cubicBezTo>
                        <a:pt x="246689" y="376677"/>
                        <a:pt x="221480" y="375598"/>
                        <a:pt x="213197" y="373799"/>
                      </a:cubicBezTo>
                      <a:cubicBezTo>
                        <a:pt x="200232" y="370561"/>
                        <a:pt x="196991" y="364445"/>
                        <a:pt x="195911" y="343219"/>
                      </a:cubicBezTo>
                      <a:lnTo>
                        <a:pt x="109480" y="343219"/>
                      </a:lnTo>
                      <a:cubicBezTo>
                        <a:pt x="109480" y="350414"/>
                        <a:pt x="109480" y="357609"/>
                        <a:pt x="109480" y="360488"/>
                      </a:cubicBezTo>
                      <a:cubicBezTo>
                        <a:pt x="109480" y="401141"/>
                        <a:pt x="123885" y="422368"/>
                        <a:pt x="156296" y="430642"/>
                      </a:cubicBezTo>
                      <a:cubicBezTo>
                        <a:pt x="177544" y="435679"/>
                        <a:pt x="207075" y="437838"/>
                        <a:pt x="273339" y="437838"/>
                      </a:cubicBezTo>
                      <a:cubicBezTo>
                        <a:pt x="334921" y="437838"/>
                        <a:pt x="360130" y="436758"/>
                        <a:pt x="394702" y="433520"/>
                      </a:cubicBezTo>
                      <a:cubicBezTo>
                        <a:pt x="449802" y="427404"/>
                        <a:pt x="471050" y="404019"/>
                        <a:pt x="468889" y="347176"/>
                      </a:cubicBezTo>
                      <a:cubicBezTo>
                        <a:pt x="468889" y="316956"/>
                        <a:pt x="462767" y="295370"/>
                        <a:pt x="450883" y="282418"/>
                      </a:cubicBezTo>
                      <a:cubicBezTo>
                        <a:pt x="436477" y="266948"/>
                        <a:pt x="419191" y="261911"/>
                        <a:pt x="375616" y="260112"/>
                      </a:cubicBezTo>
                      <a:cubicBezTo>
                        <a:pt x="352207" y="259033"/>
                        <a:pt x="334921" y="259033"/>
                        <a:pt x="330239" y="259033"/>
                      </a:cubicBezTo>
                      <a:lnTo>
                        <a:pt x="247769" y="259033"/>
                      </a:lnTo>
                      <a:cubicBezTo>
                        <a:pt x="220400" y="259033"/>
                        <a:pt x="218239" y="257954"/>
                        <a:pt x="213197" y="256874"/>
                      </a:cubicBezTo>
                      <a:cubicBezTo>
                        <a:pt x="200232" y="253996"/>
                        <a:pt x="194110" y="245722"/>
                        <a:pt x="194110" y="233490"/>
                      </a:cubicBezTo>
                      <a:cubicBezTo>
                        <a:pt x="194110" y="217300"/>
                        <a:pt x="202033" y="211184"/>
                        <a:pt x="223281" y="209385"/>
                      </a:cubicBezTo>
                      <a:cubicBezTo>
                        <a:pt x="236605" y="208306"/>
                        <a:pt x="275139" y="207226"/>
                        <a:pt x="302869" y="207226"/>
                      </a:cubicBezTo>
                      <a:cubicBezTo>
                        <a:pt x="362291" y="207226"/>
                        <a:pt x="370574" y="210105"/>
                        <a:pt x="370574" y="235648"/>
                      </a:cubicBezTo>
                      <a:lnTo>
                        <a:pt x="457005" y="235648"/>
                      </a:lnTo>
                      <a:cubicBezTo>
                        <a:pt x="457005" y="184921"/>
                        <a:pt x="447641" y="165493"/>
                        <a:pt x="418111" y="154341"/>
                      </a:cubicBezTo>
                      <a:cubicBezTo>
                        <a:pt x="395783" y="146426"/>
                        <a:pt x="373455" y="144267"/>
                        <a:pt x="288464" y="144267"/>
                      </a:cubicBezTo>
                      <a:close/>
                      <a:moveTo>
                        <a:pt x="290625" y="0"/>
                      </a:moveTo>
                      <a:cubicBezTo>
                        <a:pt x="418111" y="0"/>
                        <a:pt x="526870" y="83466"/>
                        <a:pt x="565404" y="198952"/>
                      </a:cubicBezTo>
                      <a:cubicBezTo>
                        <a:pt x="603218" y="83466"/>
                        <a:pt x="711977" y="0"/>
                        <a:pt x="840903" y="0"/>
                      </a:cubicBezTo>
                      <a:cubicBezTo>
                        <a:pt x="1001521" y="0"/>
                        <a:pt x="1131528" y="129876"/>
                        <a:pt x="1131528" y="290333"/>
                      </a:cubicBezTo>
                      <a:cubicBezTo>
                        <a:pt x="1131528" y="450789"/>
                        <a:pt x="1001521" y="580665"/>
                        <a:pt x="840903" y="580665"/>
                      </a:cubicBezTo>
                      <a:cubicBezTo>
                        <a:pt x="713057" y="580665"/>
                        <a:pt x="604298" y="497559"/>
                        <a:pt x="565404" y="381714"/>
                      </a:cubicBezTo>
                      <a:cubicBezTo>
                        <a:pt x="527950" y="497559"/>
                        <a:pt x="419191" y="580665"/>
                        <a:pt x="290625" y="580665"/>
                      </a:cubicBezTo>
                      <a:cubicBezTo>
                        <a:pt x="130007" y="580665"/>
                        <a:pt x="0" y="450789"/>
                        <a:pt x="0" y="290333"/>
                      </a:cubicBezTo>
                      <a:cubicBezTo>
                        <a:pt x="0" y="129876"/>
                        <a:pt x="130007" y="0"/>
                        <a:pt x="290625" y="0"/>
                      </a:cubicBezTo>
                      <a:close/>
                    </a:path>
                  </a:pathLst>
                </a:custGeom>
                <a:solidFill>
                  <a:srgbClr val="004A9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square" anchor="ctr"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85" name="Freeform 84"/>
                <p:cNvSpPr>
                  <a:spLocks noChangeArrowheads="1"/>
                </p:cNvSpPr>
                <p:nvPr/>
              </p:nvSpPr>
              <p:spPr bwMode="auto">
                <a:xfrm>
                  <a:off x="1236663" y="4160838"/>
                  <a:ext cx="323850" cy="290512"/>
                </a:xfrm>
                <a:custGeom>
                  <a:avLst/>
                  <a:gdLst>
                    <a:gd name="T0" fmla="*/ 0 w 901"/>
                    <a:gd name="T1" fmla="*/ 807 h 808"/>
                    <a:gd name="T2" fmla="*/ 0 w 901"/>
                    <a:gd name="T3" fmla="*/ 0 h 808"/>
                    <a:gd name="T4" fmla="*/ 892 w 901"/>
                    <a:gd name="T5" fmla="*/ 0 h 808"/>
                    <a:gd name="T6" fmla="*/ 892 w 901"/>
                    <a:gd name="T7" fmla="*/ 183 h 808"/>
                    <a:gd name="T8" fmla="*/ 240 w 901"/>
                    <a:gd name="T9" fmla="*/ 183 h 808"/>
                    <a:gd name="T10" fmla="*/ 240 w 901"/>
                    <a:gd name="T11" fmla="*/ 322 h 808"/>
                    <a:gd name="T12" fmla="*/ 855 w 901"/>
                    <a:gd name="T13" fmla="*/ 322 h 808"/>
                    <a:gd name="T14" fmla="*/ 855 w 901"/>
                    <a:gd name="T15" fmla="*/ 483 h 808"/>
                    <a:gd name="T16" fmla="*/ 240 w 901"/>
                    <a:gd name="T17" fmla="*/ 483 h 808"/>
                    <a:gd name="T18" fmla="*/ 240 w 901"/>
                    <a:gd name="T19" fmla="*/ 624 h 808"/>
                    <a:gd name="T20" fmla="*/ 900 w 901"/>
                    <a:gd name="T21" fmla="*/ 624 h 808"/>
                    <a:gd name="T22" fmla="*/ 900 w 901"/>
                    <a:gd name="T23" fmla="*/ 807 h 808"/>
                    <a:gd name="T24" fmla="*/ 0 w 901"/>
                    <a:gd name="T25" fmla="*/ 807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01" h="808">
                      <a:moveTo>
                        <a:pt x="0" y="807"/>
                      </a:moveTo>
                      <a:lnTo>
                        <a:pt x="0" y="0"/>
                      </a:lnTo>
                      <a:lnTo>
                        <a:pt x="892" y="0"/>
                      </a:lnTo>
                      <a:lnTo>
                        <a:pt x="892" y="183"/>
                      </a:lnTo>
                      <a:lnTo>
                        <a:pt x="240" y="183"/>
                      </a:lnTo>
                      <a:lnTo>
                        <a:pt x="240" y="322"/>
                      </a:lnTo>
                      <a:lnTo>
                        <a:pt x="855" y="322"/>
                      </a:lnTo>
                      <a:lnTo>
                        <a:pt x="855" y="483"/>
                      </a:lnTo>
                      <a:lnTo>
                        <a:pt x="240" y="483"/>
                      </a:lnTo>
                      <a:lnTo>
                        <a:pt x="240" y="624"/>
                      </a:lnTo>
                      <a:lnTo>
                        <a:pt x="900" y="624"/>
                      </a:lnTo>
                      <a:lnTo>
                        <a:pt x="900" y="807"/>
                      </a:lnTo>
                      <a:lnTo>
                        <a:pt x="0" y="807"/>
                      </a:lnTo>
                    </a:path>
                  </a:pathLst>
                </a:custGeom>
                <a:solidFill>
                  <a:srgbClr val="231E1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6" name="Freeform 85"/>
                <p:cNvSpPr>
                  <a:spLocks noChangeArrowheads="1"/>
                </p:cNvSpPr>
                <p:nvPr/>
              </p:nvSpPr>
              <p:spPr bwMode="auto">
                <a:xfrm>
                  <a:off x="1628775" y="4160838"/>
                  <a:ext cx="398463" cy="290512"/>
                </a:xfrm>
                <a:custGeom>
                  <a:avLst/>
                  <a:gdLst>
                    <a:gd name="T0" fmla="*/ 712 w 1108"/>
                    <a:gd name="T1" fmla="*/ 807 h 808"/>
                    <a:gd name="T2" fmla="*/ 232 w 1108"/>
                    <a:gd name="T3" fmla="*/ 200 h 808"/>
                    <a:gd name="T4" fmla="*/ 238 w 1108"/>
                    <a:gd name="T5" fmla="*/ 807 h 808"/>
                    <a:gd name="T6" fmla="*/ 0 w 1108"/>
                    <a:gd name="T7" fmla="*/ 807 h 808"/>
                    <a:gd name="T8" fmla="*/ 0 w 1108"/>
                    <a:gd name="T9" fmla="*/ 0 h 808"/>
                    <a:gd name="T10" fmla="*/ 393 w 1108"/>
                    <a:gd name="T11" fmla="*/ 0 h 808"/>
                    <a:gd name="T12" fmla="*/ 881 w 1108"/>
                    <a:gd name="T13" fmla="*/ 615 h 808"/>
                    <a:gd name="T14" fmla="*/ 875 w 1108"/>
                    <a:gd name="T15" fmla="*/ 0 h 808"/>
                    <a:gd name="T16" fmla="*/ 1107 w 1108"/>
                    <a:gd name="T17" fmla="*/ 0 h 808"/>
                    <a:gd name="T18" fmla="*/ 1107 w 1108"/>
                    <a:gd name="T19" fmla="*/ 807 h 808"/>
                    <a:gd name="T20" fmla="*/ 712 w 1108"/>
                    <a:gd name="T21" fmla="*/ 807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08" h="808">
                      <a:moveTo>
                        <a:pt x="712" y="807"/>
                      </a:moveTo>
                      <a:lnTo>
                        <a:pt x="232" y="200"/>
                      </a:lnTo>
                      <a:lnTo>
                        <a:pt x="238" y="807"/>
                      </a:lnTo>
                      <a:lnTo>
                        <a:pt x="0" y="807"/>
                      </a:lnTo>
                      <a:lnTo>
                        <a:pt x="0" y="0"/>
                      </a:lnTo>
                      <a:lnTo>
                        <a:pt x="393" y="0"/>
                      </a:lnTo>
                      <a:lnTo>
                        <a:pt x="881" y="615"/>
                      </a:lnTo>
                      <a:lnTo>
                        <a:pt x="875" y="0"/>
                      </a:lnTo>
                      <a:lnTo>
                        <a:pt x="1107" y="0"/>
                      </a:lnTo>
                      <a:lnTo>
                        <a:pt x="1107" y="807"/>
                      </a:lnTo>
                      <a:lnTo>
                        <a:pt x="712" y="807"/>
                      </a:lnTo>
                    </a:path>
                  </a:pathLst>
                </a:custGeom>
                <a:solidFill>
                  <a:srgbClr val="231E1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7" name="Freeform 86"/>
                <p:cNvSpPr>
                  <a:spLocks noChangeArrowheads="1"/>
                </p:cNvSpPr>
                <p:nvPr/>
              </p:nvSpPr>
              <p:spPr bwMode="auto">
                <a:xfrm>
                  <a:off x="2103438" y="4160838"/>
                  <a:ext cx="323850" cy="290512"/>
                </a:xfrm>
                <a:custGeom>
                  <a:avLst/>
                  <a:gdLst>
                    <a:gd name="T0" fmla="*/ 0 w 901"/>
                    <a:gd name="T1" fmla="*/ 807 h 808"/>
                    <a:gd name="T2" fmla="*/ 0 w 901"/>
                    <a:gd name="T3" fmla="*/ 0 h 808"/>
                    <a:gd name="T4" fmla="*/ 892 w 901"/>
                    <a:gd name="T5" fmla="*/ 0 h 808"/>
                    <a:gd name="T6" fmla="*/ 892 w 901"/>
                    <a:gd name="T7" fmla="*/ 183 h 808"/>
                    <a:gd name="T8" fmla="*/ 240 w 901"/>
                    <a:gd name="T9" fmla="*/ 183 h 808"/>
                    <a:gd name="T10" fmla="*/ 240 w 901"/>
                    <a:gd name="T11" fmla="*/ 322 h 808"/>
                    <a:gd name="T12" fmla="*/ 855 w 901"/>
                    <a:gd name="T13" fmla="*/ 322 h 808"/>
                    <a:gd name="T14" fmla="*/ 855 w 901"/>
                    <a:gd name="T15" fmla="*/ 483 h 808"/>
                    <a:gd name="T16" fmla="*/ 240 w 901"/>
                    <a:gd name="T17" fmla="*/ 483 h 808"/>
                    <a:gd name="T18" fmla="*/ 240 w 901"/>
                    <a:gd name="T19" fmla="*/ 624 h 808"/>
                    <a:gd name="T20" fmla="*/ 900 w 901"/>
                    <a:gd name="T21" fmla="*/ 624 h 808"/>
                    <a:gd name="T22" fmla="*/ 900 w 901"/>
                    <a:gd name="T23" fmla="*/ 807 h 808"/>
                    <a:gd name="T24" fmla="*/ 0 w 901"/>
                    <a:gd name="T25" fmla="*/ 807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01" h="808">
                      <a:moveTo>
                        <a:pt x="0" y="807"/>
                      </a:moveTo>
                      <a:lnTo>
                        <a:pt x="0" y="0"/>
                      </a:lnTo>
                      <a:lnTo>
                        <a:pt x="892" y="0"/>
                      </a:lnTo>
                      <a:lnTo>
                        <a:pt x="892" y="183"/>
                      </a:lnTo>
                      <a:lnTo>
                        <a:pt x="240" y="183"/>
                      </a:lnTo>
                      <a:lnTo>
                        <a:pt x="240" y="322"/>
                      </a:lnTo>
                      <a:lnTo>
                        <a:pt x="855" y="322"/>
                      </a:lnTo>
                      <a:lnTo>
                        <a:pt x="855" y="483"/>
                      </a:lnTo>
                      <a:lnTo>
                        <a:pt x="240" y="483"/>
                      </a:lnTo>
                      <a:lnTo>
                        <a:pt x="240" y="624"/>
                      </a:lnTo>
                      <a:lnTo>
                        <a:pt x="900" y="624"/>
                      </a:lnTo>
                      <a:lnTo>
                        <a:pt x="900" y="807"/>
                      </a:lnTo>
                      <a:lnTo>
                        <a:pt x="0" y="807"/>
                      </a:lnTo>
                    </a:path>
                  </a:pathLst>
                </a:custGeom>
                <a:solidFill>
                  <a:srgbClr val="231E1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" name="Freeform 87"/>
                <p:cNvSpPr>
                  <a:spLocks noChangeArrowheads="1"/>
                </p:cNvSpPr>
                <p:nvPr/>
              </p:nvSpPr>
              <p:spPr bwMode="auto">
                <a:xfrm>
                  <a:off x="2495550" y="4162425"/>
                  <a:ext cx="366713" cy="290513"/>
                </a:xfrm>
                <a:custGeom>
                  <a:avLst/>
                  <a:gdLst>
                    <a:gd name="T0" fmla="*/ 764 w 1017"/>
                    <a:gd name="T1" fmla="*/ 254 h 808"/>
                    <a:gd name="T2" fmla="*/ 747 w 1017"/>
                    <a:gd name="T3" fmla="*/ 220 h 808"/>
                    <a:gd name="T4" fmla="*/ 731 w 1017"/>
                    <a:gd name="T5" fmla="*/ 209 h 808"/>
                    <a:gd name="T6" fmla="*/ 711 w 1017"/>
                    <a:gd name="T7" fmla="*/ 200 h 808"/>
                    <a:gd name="T8" fmla="*/ 680 w 1017"/>
                    <a:gd name="T9" fmla="*/ 197 h 808"/>
                    <a:gd name="T10" fmla="*/ 635 w 1017"/>
                    <a:gd name="T11" fmla="*/ 197 h 808"/>
                    <a:gd name="T12" fmla="*/ 242 w 1017"/>
                    <a:gd name="T13" fmla="*/ 197 h 808"/>
                    <a:gd name="T14" fmla="*/ 242 w 1017"/>
                    <a:gd name="T15" fmla="*/ 406 h 808"/>
                    <a:gd name="T16" fmla="*/ 626 w 1017"/>
                    <a:gd name="T17" fmla="*/ 406 h 808"/>
                    <a:gd name="T18" fmla="*/ 697 w 1017"/>
                    <a:gd name="T19" fmla="*/ 403 h 808"/>
                    <a:gd name="T20" fmla="*/ 739 w 1017"/>
                    <a:gd name="T21" fmla="*/ 389 h 808"/>
                    <a:gd name="T22" fmla="*/ 759 w 1017"/>
                    <a:gd name="T23" fmla="*/ 364 h 808"/>
                    <a:gd name="T24" fmla="*/ 770 w 1017"/>
                    <a:gd name="T25" fmla="*/ 316 h 808"/>
                    <a:gd name="T26" fmla="*/ 764 w 1017"/>
                    <a:gd name="T27" fmla="*/ 254 h 808"/>
                    <a:gd name="T28" fmla="*/ 948 w 1017"/>
                    <a:gd name="T29" fmla="*/ 457 h 808"/>
                    <a:gd name="T30" fmla="*/ 925 w 1017"/>
                    <a:gd name="T31" fmla="*/ 471 h 808"/>
                    <a:gd name="T32" fmla="*/ 894 w 1017"/>
                    <a:gd name="T33" fmla="*/ 480 h 808"/>
                    <a:gd name="T34" fmla="*/ 852 w 1017"/>
                    <a:gd name="T35" fmla="*/ 488 h 808"/>
                    <a:gd name="T36" fmla="*/ 793 w 1017"/>
                    <a:gd name="T37" fmla="*/ 496 h 808"/>
                    <a:gd name="T38" fmla="*/ 832 w 1017"/>
                    <a:gd name="T39" fmla="*/ 499 h 808"/>
                    <a:gd name="T40" fmla="*/ 891 w 1017"/>
                    <a:gd name="T41" fmla="*/ 505 h 808"/>
                    <a:gd name="T42" fmla="*/ 934 w 1017"/>
                    <a:gd name="T43" fmla="*/ 513 h 808"/>
                    <a:gd name="T44" fmla="*/ 962 w 1017"/>
                    <a:gd name="T45" fmla="*/ 530 h 808"/>
                    <a:gd name="T46" fmla="*/ 982 w 1017"/>
                    <a:gd name="T47" fmla="*/ 556 h 808"/>
                    <a:gd name="T48" fmla="*/ 999 w 1017"/>
                    <a:gd name="T49" fmla="*/ 604 h 808"/>
                    <a:gd name="T50" fmla="*/ 1004 w 1017"/>
                    <a:gd name="T51" fmla="*/ 674 h 808"/>
                    <a:gd name="T52" fmla="*/ 1004 w 1017"/>
                    <a:gd name="T53" fmla="*/ 801 h 808"/>
                    <a:gd name="T54" fmla="*/ 756 w 1017"/>
                    <a:gd name="T55" fmla="*/ 801 h 808"/>
                    <a:gd name="T56" fmla="*/ 756 w 1017"/>
                    <a:gd name="T57" fmla="*/ 705 h 808"/>
                    <a:gd name="T58" fmla="*/ 747 w 1017"/>
                    <a:gd name="T59" fmla="*/ 652 h 808"/>
                    <a:gd name="T60" fmla="*/ 725 w 1017"/>
                    <a:gd name="T61" fmla="*/ 618 h 808"/>
                    <a:gd name="T62" fmla="*/ 691 w 1017"/>
                    <a:gd name="T63" fmla="*/ 607 h 808"/>
                    <a:gd name="T64" fmla="*/ 620 w 1017"/>
                    <a:gd name="T65" fmla="*/ 604 h 808"/>
                    <a:gd name="T66" fmla="*/ 245 w 1017"/>
                    <a:gd name="T67" fmla="*/ 604 h 808"/>
                    <a:gd name="T68" fmla="*/ 245 w 1017"/>
                    <a:gd name="T69" fmla="*/ 807 h 808"/>
                    <a:gd name="T70" fmla="*/ 0 w 1017"/>
                    <a:gd name="T71" fmla="*/ 807 h 808"/>
                    <a:gd name="T72" fmla="*/ 0 w 1017"/>
                    <a:gd name="T73" fmla="*/ 0 h 808"/>
                    <a:gd name="T74" fmla="*/ 694 w 1017"/>
                    <a:gd name="T75" fmla="*/ 0 h 808"/>
                    <a:gd name="T76" fmla="*/ 832 w 1017"/>
                    <a:gd name="T77" fmla="*/ 8 h 808"/>
                    <a:gd name="T78" fmla="*/ 917 w 1017"/>
                    <a:gd name="T79" fmla="*/ 34 h 808"/>
                    <a:gd name="T80" fmla="*/ 990 w 1017"/>
                    <a:gd name="T81" fmla="*/ 118 h 808"/>
                    <a:gd name="T82" fmla="*/ 1016 w 1017"/>
                    <a:gd name="T83" fmla="*/ 265 h 808"/>
                    <a:gd name="T84" fmla="*/ 948 w 1017"/>
                    <a:gd name="T85" fmla="*/ 457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017" h="808">
                      <a:moveTo>
                        <a:pt x="764" y="254"/>
                      </a:moveTo>
                      <a:cubicBezTo>
                        <a:pt x="761" y="240"/>
                        <a:pt x="755" y="228"/>
                        <a:pt x="747" y="220"/>
                      </a:cubicBezTo>
                      <a:cubicBezTo>
                        <a:pt x="741" y="214"/>
                        <a:pt x="736" y="211"/>
                        <a:pt x="731" y="209"/>
                      </a:cubicBezTo>
                      <a:cubicBezTo>
                        <a:pt x="725" y="206"/>
                        <a:pt x="719" y="203"/>
                        <a:pt x="711" y="200"/>
                      </a:cubicBezTo>
                      <a:cubicBezTo>
                        <a:pt x="702" y="197"/>
                        <a:pt x="694" y="197"/>
                        <a:pt x="680" y="197"/>
                      </a:cubicBezTo>
                      <a:lnTo>
                        <a:pt x="635" y="197"/>
                      </a:lnTo>
                      <a:lnTo>
                        <a:pt x="242" y="197"/>
                      </a:lnTo>
                      <a:lnTo>
                        <a:pt x="242" y="406"/>
                      </a:lnTo>
                      <a:lnTo>
                        <a:pt x="626" y="406"/>
                      </a:lnTo>
                      <a:cubicBezTo>
                        <a:pt x="654" y="406"/>
                        <a:pt x="680" y="406"/>
                        <a:pt x="697" y="403"/>
                      </a:cubicBezTo>
                      <a:cubicBezTo>
                        <a:pt x="716" y="401"/>
                        <a:pt x="731" y="398"/>
                        <a:pt x="739" y="389"/>
                      </a:cubicBezTo>
                      <a:cubicBezTo>
                        <a:pt x="750" y="384"/>
                        <a:pt x="756" y="375"/>
                        <a:pt x="759" y="364"/>
                      </a:cubicBezTo>
                      <a:cubicBezTo>
                        <a:pt x="767" y="350"/>
                        <a:pt x="770" y="333"/>
                        <a:pt x="770" y="316"/>
                      </a:cubicBezTo>
                      <a:cubicBezTo>
                        <a:pt x="770" y="288"/>
                        <a:pt x="766" y="268"/>
                        <a:pt x="764" y="254"/>
                      </a:cubicBezTo>
                      <a:close/>
                      <a:moveTo>
                        <a:pt x="948" y="457"/>
                      </a:moveTo>
                      <a:cubicBezTo>
                        <a:pt x="939" y="463"/>
                        <a:pt x="933" y="468"/>
                        <a:pt x="925" y="471"/>
                      </a:cubicBezTo>
                      <a:cubicBezTo>
                        <a:pt x="916" y="474"/>
                        <a:pt x="908" y="477"/>
                        <a:pt x="894" y="480"/>
                      </a:cubicBezTo>
                      <a:cubicBezTo>
                        <a:pt x="883" y="482"/>
                        <a:pt x="869" y="485"/>
                        <a:pt x="852" y="488"/>
                      </a:cubicBezTo>
                      <a:cubicBezTo>
                        <a:pt x="835" y="491"/>
                        <a:pt x="815" y="494"/>
                        <a:pt x="793" y="496"/>
                      </a:cubicBezTo>
                      <a:lnTo>
                        <a:pt x="832" y="499"/>
                      </a:lnTo>
                      <a:cubicBezTo>
                        <a:pt x="855" y="502"/>
                        <a:pt x="874" y="502"/>
                        <a:pt x="891" y="505"/>
                      </a:cubicBezTo>
                      <a:cubicBezTo>
                        <a:pt x="908" y="508"/>
                        <a:pt x="922" y="511"/>
                        <a:pt x="934" y="513"/>
                      </a:cubicBezTo>
                      <a:cubicBezTo>
                        <a:pt x="945" y="516"/>
                        <a:pt x="953" y="522"/>
                        <a:pt x="962" y="530"/>
                      </a:cubicBezTo>
                      <a:cubicBezTo>
                        <a:pt x="970" y="536"/>
                        <a:pt x="976" y="544"/>
                        <a:pt x="982" y="556"/>
                      </a:cubicBezTo>
                      <a:cubicBezTo>
                        <a:pt x="990" y="570"/>
                        <a:pt x="996" y="587"/>
                        <a:pt x="999" y="604"/>
                      </a:cubicBezTo>
                      <a:cubicBezTo>
                        <a:pt x="1001" y="621"/>
                        <a:pt x="1004" y="643"/>
                        <a:pt x="1004" y="674"/>
                      </a:cubicBezTo>
                      <a:lnTo>
                        <a:pt x="1004" y="801"/>
                      </a:lnTo>
                      <a:lnTo>
                        <a:pt x="756" y="801"/>
                      </a:lnTo>
                      <a:lnTo>
                        <a:pt x="756" y="705"/>
                      </a:lnTo>
                      <a:cubicBezTo>
                        <a:pt x="756" y="683"/>
                        <a:pt x="753" y="663"/>
                        <a:pt x="747" y="652"/>
                      </a:cubicBezTo>
                      <a:cubicBezTo>
                        <a:pt x="745" y="638"/>
                        <a:pt x="736" y="626"/>
                        <a:pt x="725" y="618"/>
                      </a:cubicBezTo>
                      <a:cubicBezTo>
                        <a:pt x="716" y="612"/>
                        <a:pt x="702" y="607"/>
                        <a:pt x="691" y="607"/>
                      </a:cubicBezTo>
                      <a:cubicBezTo>
                        <a:pt x="677" y="604"/>
                        <a:pt x="654" y="604"/>
                        <a:pt x="620" y="604"/>
                      </a:cubicBezTo>
                      <a:lnTo>
                        <a:pt x="245" y="604"/>
                      </a:lnTo>
                      <a:lnTo>
                        <a:pt x="245" y="807"/>
                      </a:lnTo>
                      <a:lnTo>
                        <a:pt x="0" y="807"/>
                      </a:lnTo>
                      <a:lnTo>
                        <a:pt x="0" y="0"/>
                      </a:lnTo>
                      <a:lnTo>
                        <a:pt x="694" y="0"/>
                      </a:lnTo>
                      <a:cubicBezTo>
                        <a:pt x="753" y="0"/>
                        <a:pt x="801" y="3"/>
                        <a:pt x="832" y="8"/>
                      </a:cubicBezTo>
                      <a:cubicBezTo>
                        <a:pt x="866" y="14"/>
                        <a:pt x="894" y="22"/>
                        <a:pt x="917" y="34"/>
                      </a:cubicBezTo>
                      <a:cubicBezTo>
                        <a:pt x="951" y="51"/>
                        <a:pt x="976" y="79"/>
                        <a:pt x="990" y="118"/>
                      </a:cubicBezTo>
                      <a:cubicBezTo>
                        <a:pt x="1007" y="149"/>
                        <a:pt x="1016" y="200"/>
                        <a:pt x="1016" y="265"/>
                      </a:cubicBezTo>
                      <a:cubicBezTo>
                        <a:pt x="1016" y="361"/>
                        <a:pt x="993" y="426"/>
                        <a:pt x="948" y="457"/>
                      </a:cubicBezTo>
                      <a:close/>
                    </a:path>
                  </a:pathLst>
                </a:custGeom>
                <a:solidFill>
                  <a:srgbClr val="231E1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" name="Freeform 88"/>
                <p:cNvSpPr>
                  <a:spLocks noChangeArrowheads="1"/>
                </p:cNvSpPr>
                <p:nvPr/>
              </p:nvSpPr>
              <p:spPr bwMode="auto">
                <a:xfrm>
                  <a:off x="2909888" y="4164013"/>
                  <a:ext cx="300037" cy="292100"/>
                </a:xfrm>
                <a:custGeom>
                  <a:avLst/>
                  <a:gdLst>
                    <a:gd name="T0" fmla="*/ 832 w 833"/>
                    <a:gd name="T1" fmla="*/ 530 h 811"/>
                    <a:gd name="T2" fmla="*/ 827 w 833"/>
                    <a:gd name="T3" fmla="*/ 606 h 811"/>
                    <a:gd name="T4" fmla="*/ 813 w 833"/>
                    <a:gd name="T5" fmla="*/ 657 h 811"/>
                    <a:gd name="T6" fmla="*/ 790 w 833"/>
                    <a:gd name="T7" fmla="*/ 699 h 811"/>
                    <a:gd name="T8" fmla="*/ 711 w 833"/>
                    <a:gd name="T9" fmla="*/ 773 h 811"/>
                    <a:gd name="T10" fmla="*/ 584 w 833"/>
                    <a:gd name="T11" fmla="*/ 807 h 811"/>
                    <a:gd name="T12" fmla="*/ 559 w 833"/>
                    <a:gd name="T13" fmla="*/ 810 h 811"/>
                    <a:gd name="T14" fmla="*/ 522 w 833"/>
                    <a:gd name="T15" fmla="*/ 810 h 811"/>
                    <a:gd name="T16" fmla="*/ 468 w 833"/>
                    <a:gd name="T17" fmla="*/ 810 h 811"/>
                    <a:gd name="T18" fmla="*/ 395 w 833"/>
                    <a:gd name="T19" fmla="*/ 810 h 811"/>
                    <a:gd name="T20" fmla="*/ 279 w 833"/>
                    <a:gd name="T21" fmla="*/ 810 h 811"/>
                    <a:gd name="T22" fmla="*/ 200 w 833"/>
                    <a:gd name="T23" fmla="*/ 804 h 811"/>
                    <a:gd name="T24" fmla="*/ 147 w 833"/>
                    <a:gd name="T25" fmla="*/ 793 h 811"/>
                    <a:gd name="T26" fmla="*/ 104 w 833"/>
                    <a:gd name="T27" fmla="*/ 776 h 811"/>
                    <a:gd name="T28" fmla="*/ 25 w 833"/>
                    <a:gd name="T29" fmla="*/ 697 h 811"/>
                    <a:gd name="T30" fmla="*/ 0 w 833"/>
                    <a:gd name="T31" fmla="*/ 570 h 811"/>
                    <a:gd name="T32" fmla="*/ 0 w 833"/>
                    <a:gd name="T33" fmla="*/ 556 h 811"/>
                    <a:gd name="T34" fmla="*/ 0 w 833"/>
                    <a:gd name="T35" fmla="*/ 536 h 811"/>
                    <a:gd name="T36" fmla="*/ 0 w 833"/>
                    <a:gd name="T37" fmla="*/ 510 h 811"/>
                    <a:gd name="T38" fmla="*/ 0 w 833"/>
                    <a:gd name="T39" fmla="*/ 462 h 811"/>
                    <a:gd name="T40" fmla="*/ 234 w 833"/>
                    <a:gd name="T41" fmla="*/ 462 h 811"/>
                    <a:gd name="T42" fmla="*/ 234 w 833"/>
                    <a:gd name="T43" fmla="*/ 488 h 811"/>
                    <a:gd name="T44" fmla="*/ 237 w 833"/>
                    <a:gd name="T45" fmla="*/ 541 h 811"/>
                    <a:gd name="T46" fmla="*/ 245 w 833"/>
                    <a:gd name="T47" fmla="*/ 575 h 811"/>
                    <a:gd name="T48" fmla="*/ 262 w 833"/>
                    <a:gd name="T49" fmla="*/ 595 h 811"/>
                    <a:gd name="T50" fmla="*/ 290 w 833"/>
                    <a:gd name="T51" fmla="*/ 606 h 811"/>
                    <a:gd name="T52" fmla="*/ 417 w 833"/>
                    <a:gd name="T53" fmla="*/ 618 h 811"/>
                    <a:gd name="T54" fmla="*/ 505 w 833"/>
                    <a:gd name="T55" fmla="*/ 612 h 811"/>
                    <a:gd name="T56" fmla="*/ 556 w 833"/>
                    <a:gd name="T57" fmla="*/ 595 h 811"/>
                    <a:gd name="T58" fmla="*/ 573 w 833"/>
                    <a:gd name="T59" fmla="*/ 581 h 811"/>
                    <a:gd name="T60" fmla="*/ 581 w 833"/>
                    <a:gd name="T61" fmla="*/ 561 h 811"/>
                    <a:gd name="T62" fmla="*/ 587 w 833"/>
                    <a:gd name="T63" fmla="*/ 525 h 811"/>
                    <a:gd name="T64" fmla="*/ 587 w 833"/>
                    <a:gd name="T65" fmla="*/ 462 h 811"/>
                    <a:gd name="T66" fmla="*/ 587 w 833"/>
                    <a:gd name="T67" fmla="*/ 0 h 811"/>
                    <a:gd name="T68" fmla="*/ 832 w 833"/>
                    <a:gd name="T69" fmla="*/ 0 h 811"/>
                    <a:gd name="T70" fmla="*/ 832 w 833"/>
                    <a:gd name="T71" fmla="*/ 412 h 811"/>
                    <a:gd name="T72" fmla="*/ 832 w 833"/>
                    <a:gd name="T73" fmla="*/ 530 h 8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833" h="811">
                      <a:moveTo>
                        <a:pt x="832" y="530"/>
                      </a:moveTo>
                      <a:cubicBezTo>
                        <a:pt x="832" y="561"/>
                        <a:pt x="829" y="586"/>
                        <a:pt x="827" y="606"/>
                      </a:cubicBezTo>
                      <a:cubicBezTo>
                        <a:pt x="824" y="625"/>
                        <a:pt x="818" y="643"/>
                        <a:pt x="813" y="657"/>
                      </a:cubicBezTo>
                      <a:cubicBezTo>
                        <a:pt x="807" y="671"/>
                        <a:pt x="801" y="683"/>
                        <a:pt x="790" y="699"/>
                      </a:cubicBezTo>
                      <a:cubicBezTo>
                        <a:pt x="770" y="731"/>
                        <a:pt x="745" y="756"/>
                        <a:pt x="711" y="773"/>
                      </a:cubicBezTo>
                      <a:cubicBezTo>
                        <a:pt x="680" y="790"/>
                        <a:pt x="638" y="801"/>
                        <a:pt x="584" y="807"/>
                      </a:cubicBezTo>
                      <a:cubicBezTo>
                        <a:pt x="575" y="807"/>
                        <a:pt x="567" y="810"/>
                        <a:pt x="559" y="810"/>
                      </a:cubicBezTo>
                      <a:lnTo>
                        <a:pt x="522" y="810"/>
                      </a:lnTo>
                      <a:lnTo>
                        <a:pt x="468" y="810"/>
                      </a:lnTo>
                      <a:lnTo>
                        <a:pt x="395" y="810"/>
                      </a:lnTo>
                      <a:lnTo>
                        <a:pt x="279" y="810"/>
                      </a:lnTo>
                      <a:cubicBezTo>
                        <a:pt x="248" y="810"/>
                        <a:pt x="223" y="807"/>
                        <a:pt x="200" y="804"/>
                      </a:cubicBezTo>
                      <a:cubicBezTo>
                        <a:pt x="180" y="801"/>
                        <a:pt x="161" y="795"/>
                        <a:pt x="147" y="793"/>
                      </a:cubicBezTo>
                      <a:lnTo>
                        <a:pt x="104" y="776"/>
                      </a:lnTo>
                      <a:cubicBezTo>
                        <a:pt x="68" y="756"/>
                        <a:pt x="42" y="731"/>
                        <a:pt x="25" y="697"/>
                      </a:cubicBezTo>
                      <a:cubicBezTo>
                        <a:pt x="8" y="663"/>
                        <a:pt x="0" y="620"/>
                        <a:pt x="0" y="570"/>
                      </a:cubicBezTo>
                      <a:lnTo>
                        <a:pt x="0" y="556"/>
                      </a:lnTo>
                      <a:lnTo>
                        <a:pt x="0" y="536"/>
                      </a:lnTo>
                      <a:lnTo>
                        <a:pt x="0" y="510"/>
                      </a:lnTo>
                      <a:lnTo>
                        <a:pt x="0" y="462"/>
                      </a:lnTo>
                      <a:lnTo>
                        <a:pt x="234" y="462"/>
                      </a:lnTo>
                      <a:lnTo>
                        <a:pt x="234" y="488"/>
                      </a:lnTo>
                      <a:cubicBezTo>
                        <a:pt x="234" y="508"/>
                        <a:pt x="234" y="526"/>
                        <a:pt x="237" y="541"/>
                      </a:cubicBezTo>
                      <a:cubicBezTo>
                        <a:pt x="240" y="555"/>
                        <a:pt x="242" y="567"/>
                        <a:pt x="245" y="575"/>
                      </a:cubicBezTo>
                      <a:cubicBezTo>
                        <a:pt x="248" y="584"/>
                        <a:pt x="254" y="589"/>
                        <a:pt x="262" y="595"/>
                      </a:cubicBezTo>
                      <a:cubicBezTo>
                        <a:pt x="271" y="601"/>
                        <a:pt x="279" y="604"/>
                        <a:pt x="290" y="606"/>
                      </a:cubicBezTo>
                      <a:cubicBezTo>
                        <a:pt x="316" y="615"/>
                        <a:pt x="358" y="618"/>
                        <a:pt x="417" y="618"/>
                      </a:cubicBezTo>
                      <a:cubicBezTo>
                        <a:pt x="454" y="618"/>
                        <a:pt x="482" y="615"/>
                        <a:pt x="505" y="612"/>
                      </a:cubicBezTo>
                      <a:cubicBezTo>
                        <a:pt x="528" y="609"/>
                        <a:pt x="544" y="604"/>
                        <a:pt x="556" y="595"/>
                      </a:cubicBezTo>
                      <a:cubicBezTo>
                        <a:pt x="564" y="589"/>
                        <a:pt x="570" y="587"/>
                        <a:pt x="573" y="581"/>
                      </a:cubicBezTo>
                      <a:cubicBezTo>
                        <a:pt x="575" y="575"/>
                        <a:pt x="578" y="570"/>
                        <a:pt x="581" y="561"/>
                      </a:cubicBezTo>
                      <a:cubicBezTo>
                        <a:pt x="584" y="553"/>
                        <a:pt x="584" y="539"/>
                        <a:pt x="587" y="525"/>
                      </a:cubicBezTo>
                      <a:lnTo>
                        <a:pt x="587" y="462"/>
                      </a:lnTo>
                      <a:lnTo>
                        <a:pt x="587" y="0"/>
                      </a:lnTo>
                      <a:lnTo>
                        <a:pt x="832" y="0"/>
                      </a:lnTo>
                      <a:lnTo>
                        <a:pt x="832" y="412"/>
                      </a:lnTo>
                      <a:lnTo>
                        <a:pt x="832" y="530"/>
                      </a:lnTo>
                    </a:path>
                  </a:pathLst>
                </a:custGeom>
                <a:solidFill>
                  <a:srgbClr val="231E1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" name="Freeform 89"/>
                <p:cNvSpPr>
                  <a:spLocks noChangeArrowheads="1"/>
                </p:cNvSpPr>
                <p:nvPr/>
              </p:nvSpPr>
              <p:spPr bwMode="auto">
                <a:xfrm>
                  <a:off x="3289300" y="4073525"/>
                  <a:ext cx="88900" cy="377825"/>
                </a:xfrm>
                <a:custGeom>
                  <a:avLst/>
                  <a:gdLst>
                    <a:gd name="T0" fmla="*/ 0 w 246"/>
                    <a:gd name="T1" fmla="*/ 243 h 1051"/>
                    <a:gd name="T2" fmla="*/ 245 w 246"/>
                    <a:gd name="T3" fmla="*/ 243 h 1051"/>
                    <a:gd name="T4" fmla="*/ 245 w 246"/>
                    <a:gd name="T5" fmla="*/ 1050 h 1051"/>
                    <a:gd name="T6" fmla="*/ 0 w 246"/>
                    <a:gd name="T7" fmla="*/ 1050 h 1051"/>
                    <a:gd name="T8" fmla="*/ 0 w 246"/>
                    <a:gd name="T9" fmla="*/ 243 h 1051"/>
                    <a:gd name="T10" fmla="*/ 36 w 246"/>
                    <a:gd name="T11" fmla="*/ 0 h 1051"/>
                    <a:gd name="T12" fmla="*/ 208 w 246"/>
                    <a:gd name="T13" fmla="*/ 0 h 1051"/>
                    <a:gd name="T14" fmla="*/ 208 w 246"/>
                    <a:gd name="T15" fmla="*/ 130 h 1051"/>
                    <a:gd name="T16" fmla="*/ 36 w 246"/>
                    <a:gd name="T17" fmla="*/ 130 h 1051"/>
                    <a:gd name="T18" fmla="*/ 36 w 246"/>
                    <a:gd name="T19" fmla="*/ 0 h 10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46" h="1051">
                      <a:moveTo>
                        <a:pt x="0" y="243"/>
                      </a:moveTo>
                      <a:lnTo>
                        <a:pt x="245" y="243"/>
                      </a:lnTo>
                      <a:lnTo>
                        <a:pt x="245" y="1050"/>
                      </a:lnTo>
                      <a:lnTo>
                        <a:pt x="0" y="1050"/>
                      </a:lnTo>
                      <a:lnTo>
                        <a:pt x="0" y="243"/>
                      </a:lnTo>
                      <a:close/>
                      <a:moveTo>
                        <a:pt x="36" y="0"/>
                      </a:moveTo>
                      <a:lnTo>
                        <a:pt x="208" y="0"/>
                      </a:lnTo>
                      <a:lnTo>
                        <a:pt x="208" y="130"/>
                      </a:lnTo>
                      <a:lnTo>
                        <a:pt x="36" y="130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rgbClr val="231E1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83" name="Freeform 82"/>
              <p:cNvSpPr>
                <a:spLocks noChangeArrowheads="1"/>
              </p:cNvSpPr>
              <p:nvPr userDrawn="1"/>
            </p:nvSpPr>
            <p:spPr bwMode="auto">
              <a:xfrm>
                <a:off x="4641850" y="4095750"/>
                <a:ext cx="1457325" cy="355600"/>
              </a:xfrm>
              <a:custGeom>
                <a:avLst/>
                <a:gdLst>
                  <a:gd name="T0" fmla="*/ 4047 w 4048"/>
                  <a:gd name="T1" fmla="*/ 177 h 988"/>
                  <a:gd name="T2" fmla="*/ 3604 w 4048"/>
                  <a:gd name="T3" fmla="*/ 866 h 988"/>
                  <a:gd name="T4" fmla="*/ 3161 w 4048"/>
                  <a:gd name="T5" fmla="*/ 177 h 988"/>
                  <a:gd name="T6" fmla="*/ 3251 w 4048"/>
                  <a:gd name="T7" fmla="*/ 982 h 988"/>
                  <a:gd name="T8" fmla="*/ 3254 w 4048"/>
                  <a:gd name="T9" fmla="*/ 245 h 988"/>
                  <a:gd name="T10" fmla="*/ 3649 w 4048"/>
                  <a:gd name="T11" fmla="*/ 982 h 988"/>
                  <a:gd name="T12" fmla="*/ 3957 w 4048"/>
                  <a:gd name="T13" fmla="*/ 245 h 988"/>
                  <a:gd name="T14" fmla="*/ 4047 w 4048"/>
                  <a:gd name="T15" fmla="*/ 982 h 988"/>
                  <a:gd name="T16" fmla="*/ 2997 w 4048"/>
                  <a:gd name="T17" fmla="*/ 177 h 988"/>
                  <a:gd name="T18" fmla="*/ 2907 w 4048"/>
                  <a:gd name="T19" fmla="*/ 982 h 988"/>
                  <a:gd name="T20" fmla="*/ 2907 w 4048"/>
                  <a:gd name="T21" fmla="*/ 0 h 988"/>
                  <a:gd name="T22" fmla="*/ 3000 w 4048"/>
                  <a:gd name="T23" fmla="*/ 79 h 988"/>
                  <a:gd name="T24" fmla="*/ 2907 w 4048"/>
                  <a:gd name="T25" fmla="*/ 0 h 988"/>
                  <a:gd name="T26" fmla="*/ 2786 w 4048"/>
                  <a:gd name="T27" fmla="*/ 177 h 988"/>
                  <a:gd name="T28" fmla="*/ 2173 w 4048"/>
                  <a:gd name="T29" fmla="*/ 259 h 988"/>
                  <a:gd name="T30" fmla="*/ 2433 w 4048"/>
                  <a:gd name="T31" fmla="*/ 984 h 988"/>
                  <a:gd name="T32" fmla="*/ 2523 w 4048"/>
                  <a:gd name="T33" fmla="*/ 259 h 988"/>
                  <a:gd name="T34" fmla="*/ 2069 w 4048"/>
                  <a:gd name="T35" fmla="*/ 982 h 988"/>
                  <a:gd name="T36" fmla="*/ 1643 w 4048"/>
                  <a:gd name="T37" fmla="*/ 903 h 988"/>
                  <a:gd name="T38" fmla="*/ 2049 w 4048"/>
                  <a:gd name="T39" fmla="*/ 609 h 988"/>
                  <a:gd name="T40" fmla="*/ 1643 w 4048"/>
                  <a:gd name="T41" fmla="*/ 533 h 988"/>
                  <a:gd name="T42" fmla="*/ 2069 w 4048"/>
                  <a:gd name="T43" fmla="*/ 259 h 988"/>
                  <a:gd name="T44" fmla="*/ 1553 w 4048"/>
                  <a:gd name="T45" fmla="*/ 180 h 988"/>
                  <a:gd name="T46" fmla="*/ 2069 w 4048"/>
                  <a:gd name="T47" fmla="*/ 984 h 988"/>
                  <a:gd name="T48" fmla="*/ 1324 w 4048"/>
                  <a:gd name="T49" fmla="*/ 335 h 988"/>
                  <a:gd name="T50" fmla="*/ 1256 w 4048"/>
                  <a:gd name="T51" fmla="*/ 265 h 988"/>
                  <a:gd name="T52" fmla="*/ 889 w 4048"/>
                  <a:gd name="T53" fmla="*/ 256 h 988"/>
                  <a:gd name="T54" fmla="*/ 1172 w 4048"/>
                  <a:gd name="T55" fmla="*/ 581 h 988"/>
                  <a:gd name="T56" fmla="*/ 1304 w 4048"/>
                  <a:gd name="T57" fmla="*/ 541 h 988"/>
                  <a:gd name="T58" fmla="*/ 1330 w 4048"/>
                  <a:gd name="T59" fmla="*/ 400 h 988"/>
                  <a:gd name="T60" fmla="*/ 1417 w 4048"/>
                  <a:gd name="T61" fmla="*/ 488 h 988"/>
                  <a:gd name="T62" fmla="*/ 1358 w 4048"/>
                  <a:gd name="T63" fmla="*/ 598 h 988"/>
                  <a:gd name="T64" fmla="*/ 1282 w 4048"/>
                  <a:gd name="T65" fmla="*/ 626 h 988"/>
                  <a:gd name="T66" fmla="*/ 1411 w 4048"/>
                  <a:gd name="T67" fmla="*/ 770 h 988"/>
                  <a:gd name="T68" fmla="*/ 1318 w 4048"/>
                  <a:gd name="T69" fmla="*/ 984 h 988"/>
                  <a:gd name="T70" fmla="*/ 1313 w 4048"/>
                  <a:gd name="T71" fmla="*/ 747 h 988"/>
                  <a:gd name="T72" fmla="*/ 1251 w 4048"/>
                  <a:gd name="T73" fmla="*/ 671 h 988"/>
                  <a:gd name="T74" fmla="*/ 889 w 4048"/>
                  <a:gd name="T75" fmla="*/ 663 h 988"/>
                  <a:gd name="T76" fmla="*/ 799 w 4048"/>
                  <a:gd name="T77" fmla="*/ 984 h 988"/>
                  <a:gd name="T78" fmla="*/ 1169 w 4048"/>
                  <a:gd name="T79" fmla="*/ 180 h 988"/>
                  <a:gd name="T80" fmla="*/ 1361 w 4048"/>
                  <a:gd name="T81" fmla="*/ 228 h 988"/>
                  <a:gd name="T82" fmla="*/ 1420 w 4048"/>
                  <a:gd name="T83" fmla="*/ 409 h 988"/>
                  <a:gd name="T84" fmla="*/ 379 w 4048"/>
                  <a:gd name="T85" fmla="*/ 42 h 988"/>
                  <a:gd name="T86" fmla="*/ 472 w 4048"/>
                  <a:gd name="T87" fmla="*/ 121 h 988"/>
                  <a:gd name="T88" fmla="*/ 379 w 4048"/>
                  <a:gd name="T89" fmla="*/ 42 h 988"/>
                  <a:gd name="T90" fmla="*/ 257 w 4048"/>
                  <a:gd name="T91" fmla="*/ 42 h 988"/>
                  <a:gd name="T92" fmla="*/ 164 w 4048"/>
                  <a:gd name="T93" fmla="*/ 121 h 988"/>
                  <a:gd name="T94" fmla="*/ 551 w 4048"/>
                  <a:gd name="T95" fmla="*/ 953 h 988"/>
                  <a:gd name="T96" fmla="*/ 319 w 4048"/>
                  <a:gd name="T97" fmla="*/ 987 h 988"/>
                  <a:gd name="T98" fmla="*/ 94 w 4048"/>
                  <a:gd name="T99" fmla="*/ 956 h 988"/>
                  <a:gd name="T100" fmla="*/ 0 w 4048"/>
                  <a:gd name="T101" fmla="*/ 756 h 988"/>
                  <a:gd name="T102" fmla="*/ 91 w 4048"/>
                  <a:gd name="T103" fmla="*/ 177 h 988"/>
                  <a:gd name="T104" fmla="*/ 99 w 4048"/>
                  <a:gd name="T105" fmla="*/ 835 h 988"/>
                  <a:gd name="T106" fmla="*/ 198 w 4048"/>
                  <a:gd name="T107" fmla="*/ 903 h 988"/>
                  <a:gd name="T108" fmla="*/ 421 w 4048"/>
                  <a:gd name="T109" fmla="*/ 905 h 988"/>
                  <a:gd name="T110" fmla="*/ 531 w 4048"/>
                  <a:gd name="T111" fmla="*/ 843 h 988"/>
                  <a:gd name="T112" fmla="*/ 545 w 4048"/>
                  <a:gd name="T113" fmla="*/ 177 h 988"/>
                  <a:gd name="T114" fmla="*/ 635 w 4048"/>
                  <a:gd name="T115" fmla="*/ 756 h 988"/>
                  <a:gd name="T116" fmla="*/ 551 w 4048"/>
                  <a:gd name="T117" fmla="*/ 953 h 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048" h="988">
                    <a:moveTo>
                      <a:pt x="4047" y="982"/>
                    </a:moveTo>
                    <a:lnTo>
                      <a:pt x="4047" y="177"/>
                    </a:lnTo>
                    <a:lnTo>
                      <a:pt x="3889" y="177"/>
                    </a:lnTo>
                    <a:lnTo>
                      <a:pt x="3604" y="866"/>
                    </a:lnTo>
                    <a:lnTo>
                      <a:pt x="3319" y="177"/>
                    </a:lnTo>
                    <a:lnTo>
                      <a:pt x="3161" y="177"/>
                    </a:lnTo>
                    <a:lnTo>
                      <a:pt x="3161" y="982"/>
                    </a:lnTo>
                    <a:lnTo>
                      <a:pt x="3251" y="982"/>
                    </a:lnTo>
                    <a:lnTo>
                      <a:pt x="3251" y="245"/>
                    </a:lnTo>
                    <a:lnTo>
                      <a:pt x="3254" y="245"/>
                    </a:lnTo>
                    <a:lnTo>
                      <a:pt x="3559" y="982"/>
                    </a:lnTo>
                    <a:lnTo>
                      <a:pt x="3649" y="982"/>
                    </a:lnTo>
                    <a:lnTo>
                      <a:pt x="3954" y="245"/>
                    </a:lnTo>
                    <a:lnTo>
                      <a:pt x="3957" y="245"/>
                    </a:lnTo>
                    <a:lnTo>
                      <a:pt x="3957" y="982"/>
                    </a:lnTo>
                    <a:lnTo>
                      <a:pt x="4047" y="982"/>
                    </a:lnTo>
                    <a:close/>
                    <a:moveTo>
                      <a:pt x="2907" y="177"/>
                    </a:moveTo>
                    <a:lnTo>
                      <a:pt x="2997" y="177"/>
                    </a:lnTo>
                    <a:lnTo>
                      <a:pt x="2997" y="982"/>
                    </a:lnTo>
                    <a:lnTo>
                      <a:pt x="2907" y="982"/>
                    </a:lnTo>
                    <a:lnTo>
                      <a:pt x="2907" y="177"/>
                    </a:lnTo>
                    <a:close/>
                    <a:moveTo>
                      <a:pt x="2907" y="0"/>
                    </a:moveTo>
                    <a:lnTo>
                      <a:pt x="3000" y="0"/>
                    </a:lnTo>
                    <a:lnTo>
                      <a:pt x="3000" y="79"/>
                    </a:lnTo>
                    <a:lnTo>
                      <a:pt x="2907" y="79"/>
                    </a:lnTo>
                    <a:lnTo>
                      <a:pt x="2907" y="0"/>
                    </a:lnTo>
                    <a:close/>
                    <a:moveTo>
                      <a:pt x="2786" y="259"/>
                    </a:moveTo>
                    <a:lnTo>
                      <a:pt x="2786" y="177"/>
                    </a:lnTo>
                    <a:lnTo>
                      <a:pt x="2173" y="177"/>
                    </a:lnTo>
                    <a:lnTo>
                      <a:pt x="2173" y="259"/>
                    </a:lnTo>
                    <a:lnTo>
                      <a:pt x="2433" y="259"/>
                    </a:lnTo>
                    <a:lnTo>
                      <a:pt x="2433" y="984"/>
                    </a:lnTo>
                    <a:lnTo>
                      <a:pt x="2523" y="984"/>
                    </a:lnTo>
                    <a:lnTo>
                      <a:pt x="2523" y="259"/>
                    </a:lnTo>
                    <a:lnTo>
                      <a:pt x="2786" y="259"/>
                    </a:lnTo>
                    <a:close/>
                    <a:moveTo>
                      <a:pt x="2069" y="982"/>
                    </a:moveTo>
                    <a:lnTo>
                      <a:pt x="2069" y="903"/>
                    </a:lnTo>
                    <a:lnTo>
                      <a:pt x="1643" y="903"/>
                    </a:lnTo>
                    <a:lnTo>
                      <a:pt x="1643" y="609"/>
                    </a:lnTo>
                    <a:lnTo>
                      <a:pt x="2049" y="609"/>
                    </a:lnTo>
                    <a:lnTo>
                      <a:pt x="2049" y="533"/>
                    </a:lnTo>
                    <a:lnTo>
                      <a:pt x="1643" y="533"/>
                    </a:lnTo>
                    <a:lnTo>
                      <a:pt x="1643" y="259"/>
                    </a:lnTo>
                    <a:lnTo>
                      <a:pt x="2069" y="259"/>
                    </a:lnTo>
                    <a:lnTo>
                      <a:pt x="2069" y="180"/>
                    </a:lnTo>
                    <a:lnTo>
                      <a:pt x="1553" y="180"/>
                    </a:lnTo>
                    <a:lnTo>
                      <a:pt x="1553" y="984"/>
                    </a:lnTo>
                    <a:lnTo>
                      <a:pt x="2069" y="984"/>
                    </a:lnTo>
                    <a:lnTo>
                      <a:pt x="2069" y="982"/>
                    </a:lnTo>
                    <a:close/>
                    <a:moveTo>
                      <a:pt x="1324" y="335"/>
                    </a:moveTo>
                    <a:cubicBezTo>
                      <a:pt x="1321" y="318"/>
                      <a:pt x="1315" y="301"/>
                      <a:pt x="1304" y="290"/>
                    </a:cubicBezTo>
                    <a:cubicBezTo>
                      <a:pt x="1293" y="278"/>
                      <a:pt x="1279" y="270"/>
                      <a:pt x="1256" y="265"/>
                    </a:cubicBezTo>
                    <a:cubicBezTo>
                      <a:pt x="1234" y="259"/>
                      <a:pt x="1205" y="256"/>
                      <a:pt x="1172" y="256"/>
                    </a:cubicBezTo>
                    <a:lnTo>
                      <a:pt x="889" y="256"/>
                    </a:lnTo>
                    <a:lnTo>
                      <a:pt x="889" y="581"/>
                    </a:lnTo>
                    <a:lnTo>
                      <a:pt x="1172" y="581"/>
                    </a:lnTo>
                    <a:cubicBezTo>
                      <a:pt x="1205" y="581"/>
                      <a:pt x="1234" y="578"/>
                      <a:pt x="1256" y="572"/>
                    </a:cubicBezTo>
                    <a:cubicBezTo>
                      <a:pt x="1276" y="567"/>
                      <a:pt x="1293" y="555"/>
                      <a:pt x="1304" y="541"/>
                    </a:cubicBezTo>
                    <a:cubicBezTo>
                      <a:pt x="1315" y="527"/>
                      <a:pt x="1321" y="508"/>
                      <a:pt x="1327" y="485"/>
                    </a:cubicBezTo>
                    <a:cubicBezTo>
                      <a:pt x="1327" y="460"/>
                      <a:pt x="1330" y="434"/>
                      <a:pt x="1330" y="400"/>
                    </a:cubicBezTo>
                    <a:cubicBezTo>
                      <a:pt x="1330" y="375"/>
                      <a:pt x="1327" y="352"/>
                      <a:pt x="1324" y="335"/>
                    </a:cubicBezTo>
                    <a:close/>
                    <a:moveTo>
                      <a:pt x="1417" y="488"/>
                    </a:moveTo>
                    <a:cubicBezTo>
                      <a:pt x="1414" y="513"/>
                      <a:pt x="1409" y="533"/>
                      <a:pt x="1400" y="553"/>
                    </a:cubicBezTo>
                    <a:cubicBezTo>
                      <a:pt x="1392" y="572"/>
                      <a:pt x="1378" y="587"/>
                      <a:pt x="1358" y="598"/>
                    </a:cubicBezTo>
                    <a:cubicBezTo>
                      <a:pt x="1338" y="609"/>
                      <a:pt x="1313" y="618"/>
                      <a:pt x="1282" y="623"/>
                    </a:cubicBezTo>
                    <a:lnTo>
                      <a:pt x="1282" y="626"/>
                    </a:lnTo>
                    <a:cubicBezTo>
                      <a:pt x="1327" y="629"/>
                      <a:pt x="1361" y="642"/>
                      <a:pt x="1380" y="668"/>
                    </a:cubicBezTo>
                    <a:cubicBezTo>
                      <a:pt x="1400" y="693"/>
                      <a:pt x="1411" y="728"/>
                      <a:pt x="1411" y="770"/>
                    </a:cubicBezTo>
                    <a:lnTo>
                      <a:pt x="1411" y="984"/>
                    </a:lnTo>
                    <a:lnTo>
                      <a:pt x="1318" y="984"/>
                    </a:lnTo>
                    <a:lnTo>
                      <a:pt x="1318" y="815"/>
                    </a:lnTo>
                    <a:cubicBezTo>
                      <a:pt x="1318" y="790"/>
                      <a:pt x="1315" y="767"/>
                      <a:pt x="1313" y="747"/>
                    </a:cubicBezTo>
                    <a:cubicBezTo>
                      <a:pt x="1310" y="728"/>
                      <a:pt x="1301" y="714"/>
                      <a:pt x="1293" y="699"/>
                    </a:cubicBezTo>
                    <a:cubicBezTo>
                      <a:pt x="1282" y="688"/>
                      <a:pt x="1270" y="677"/>
                      <a:pt x="1251" y="671"/>
                    </a:cubicBezTo>
                    <a:cubicBezTo>
                      <a:pt x="1234" y="666"/>
                      <a:pt x="1211" y="663"/>
                      <a:pt x="1183" y="663"/>
                    </a:cubicBezTo>
                    <a:lnTo>
                      <a:pt x="889" y="663"/>
                    </a:lnTo>
                    <a:lnTo>
                      <a:pt x="889" y="984"/>
                    </a:lnTo>
                    <a:lnTo>
                      <a:pt x="799" y="984"/>
                    </a:lnTo>
                    <a:lnTo>
                      <a:pt x="799" y="180"/>
                    </a:lnTo>
                    <a:lnTo>
                      <a:pt x="1169" y="180"/>
                    </a:lnTo>
                    <a:cubicBezTo>
                      <a:pt x="1211" y="180"/>
                      <a:pt x="1251" y="183"/>
                      <a:pt x="1282" y="191"/>
                    </a:cubicBezTo>
                    <a:cubicBezTo>
                      <a:pt x="1313" y="197"/>
                      <a:pt x="1338" y="211"/>
                      <a:pt x="1361" y="228"/>
                    </a:cubicBezTo>
                    <a:cubicBezTo>
                      <a:pt x="1380" y="245"/>
                      <a:pt x="1397" y="270"/>
                      <a:pt x="1406" y="299"/>
                    </a:cubicBezTo>
                    <a:cubicBezTo>
                      <a:pt x="1414" y="327"/>
                      <a:pt x="1420" y="364"/>
                      <a:pt x="1420" y="409"/>
                    </a:cubicBezTo>
                    <a:cubicBezTo>
                      <a:pt x="1420" y="437"/>
                      <a:pt x="1420" y="462"/>
                      <a:pt x="1417" y="488"/>
                    </a:cubicBezTo>
                    <a:close/>
                    <a:moveTo>
                      <a:pt x="379" y="42"/>
                    </a:moveTo>
                    <a:lnTo>
                      <a:pt x="472" y="42"/>
                    </a:lnTo>
                    <a:lnTo>
                      <a:pt x="472" y="121"/>
                    </a:lnTo>
                    <a:lnTo>
                      <a:pt x="379" y="121"/>
                    </a:lnTo>
                    <a:lnTo>
                      <a:pt x="379" y="42"/>
                    </a:lnTo>
                    <a:close/>
                    <a:moveTo>
                      <a:pt x="164" y="42"/>
                    </a:moveTo>
                    <a:lnTo>
                      <a:pt x="257" y="42"/>
                    </a:lnTo>
                    <a:lnTo>
                      <a:pt x="257" y="121"/>
                    </a:lnTo>
                    <a:lnTo>
                      <a:pt x="164" y="121"/>
                    </a:lnTo>
                    <a:lnTo>
                      <a:pt x="164" y="42"/>
                    </a:lnTo>
                    <a:close/>
                    <a:moveTo>
                      <a:pt x="551" y="953"/>
                    </a:moveTo>
                    <a:cubicBezTo>
                      <a:pt x="523" y="967"/>
                      <a:pt x="489" y="979"/>
                      <a:pt x="449" y="982"/>
                    </a:cubicBezTo>
                    <a:cubicBezTo>
                      <a:pt x="410" y="984"/>
                      <a:pt x="367" y="987"/>
                      <a:pt x="319" y="987"/>
                    </a:cubicBezTo>
                    <a:cubicBezTo>
                      <a:pt x="277" y="987"/>
                      <a:pt x="235" y="984"/>
                      <a:pt x="195" y="982"/>
                    </a:cubicBezTo>
                    <a:cubicBezTo>
                      <a:pt x="156" y="979"/>
                      <a:pt x="123" y="970"/>
                      <a:pt x="94" y="956"/>
                    </a:cubicBezTo>
                    <a:cubicBezTo>
                      <a:pt x="66" y="942"/>
                      <a:pt x="43" y="920"/>
                      <a:pt x="26" y="888"/>
                    </a:cubicBezTo>
                    <a:cubicBezTo>
                      <a:pt x="9" y="857"/>
                      <a:pt x="0" y="812"/>
                      <a:pt x="0" y="756"/>
                    </a:cubicBezTo>
                    <a:lnTo>
                      <a:pt x="0" y="177"/>
                    </a:lnTo>
                    <a:lnTo>
                      <a:pt x="91" y="177"/>
                    </a:lnTo>
                    <a:lnTo>
                      <a:pt x="91" y="756"/>
                    </a:lnTo>
                    <a:cubicBezTo>
                      <a:pt x="91" y="790"/>
                      <a:pt x="94" y="815"/>
                      <a:pt x="99" y="835"/>
                    </a:cubicBezTo>
                    <a:cubicBezTo>
                      <a:pt x="105" y="855"/>
                      <a:pt x="116" y="869"/>
                      <a:pt x="130" y="880"/>
                    </a:cubicBezTo>
                    <a:cubicBezTo>
                      <a:pt x="147" y="891"/>
                      <a:pt x="170" y="897"/>
                      <a:pt x="198" y="903"/>
                    </a:cubicBezTo>
                    <a:cubicBezTo>
                      <a:pt x="226" y="905"/>
                      <a:pt x="269" y="908"/>
                      <a:pt x="317" y="908"/>
                    </a:cubicBezTo>
                    <a:cubicBezTo>
                      <a:pt x="356" y="908"/>
                      <a:pt x="393" y="907"/>
                      <a:pt x="421" y="905"/>
                    </a:cubicBezTo>
                    <a:cubicBezTo>
                      <a:pt x="449" y="902"/>
                      <a:pt x="472" y="897"/>
                      <a:pt x="491" y="888"/>
                    </a:cubicBezTo>
                    <a:cubicBezTo>
                      <a:pt x="508" y="880"/>
                      <a:pt x="523" y="863"/>
                      <a:pt x="531" y="843"/>
                    </a:cubicBezTo>
                    <a:cubicBezTo>
                      <a:pt x="539" y="824"/>
                      <a:pt x="545" y="793"/>
                      <a:pt x="545" y="756"/>
                    </a:cubicBezTo>
                    <a:lnTo>
                      <a:pt x="545" y="177"/>
                    </a:lnTo>
                    <a:lnTo>
                      <a:pt x="635" y="177"/>
                    </a:lnTo>
                    <a:lnTo>
                      <a:pt x="635" y="756"/>
                    </a:lnTo>
                    <a:cubicBezTo>
                      <a:pt x="638" y="809"/>
                      <a:pt x="630" y="852"/>
                      <a:pt x="616" y="883"/>
                    </a:cubicBezTo>
                    <a:cubicBezTo>
                      <a:pt x="602" y="914"/>
                      <a:pt x="579" y="936"/>
                      <a:pt x="551" y="953"/>
                    </a:cubicBezTo>
                    <a:close/>
                  </a:path>
                </a:pathLst>
              </a:custGeom>
              <a:solidFill>
                <a:srgbClr val="2A252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2780636" y="5090096"/>
              <a:ext cx="5397333" cy="1085993"/>
              <a:chOff x="2780636" y="5179699"/>
              <a:chExt cx="5397333" cy="1085993"/>
            </a:xfrm>
          </p:grpSpPr>
          <p:sp>
            <p:nvSpPr>
              <p:cNvPr id="37" name="Freeform 36"/>
              <p:cNvSpPr>
                <a:spLocks noChangeArrowheads="1"/>
              </p:cNvSpPr>
              <p:nvPr userDrawn="1"/>
            </p:nvSpPr>
            <p:spPr bwMode="auto">
              <a:xfrm>
                <a:off x="4957075" y="5179699"/>
                <a:ext cx="36000" cy="1085993"/>
              </a:xfrm>
              <a:custGeom>
                <a:avLst/>
                <a:gdLst>
                  <a:gd name="T0" fmla="*/ 16 w 32"/>
                  <a:gd name="T1" fmla="*/ 1611 h 1612"/>
                  <a:gd name="T2" fmla="*/ 0 w 32"/>
                  <a:gd name="T3" fmla="*/ 1611 h 1612"/>
                  <a:gd name="T4" fmla="*/ 0 w 32"/>
                  <a:gd name="T5" fmla="*/ 0 h 1612"/>
                  <a:gd name="T6" fmla="*/ 31 w 32"/>
                  <a:gd name="T7" fmla="*/ 0 h 1612"/>
                  <a:gd name="T8" fmla="*/ 31 w 32"/>
                  <a:gd name="T9" fmla="*/ 1611 h 1612"/>
                  <a:gd name="T10" fmla="*/ 16 w 32"/>
                  <a:gd name="T11" fmla="*/ 1611 h 16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2" h="1612">
                    <a:moveTo>
                      <a:pt x="16" y="1611"/>
                    </a:moveTo>
                    <a:lnTo>
                      <a:pt x="0" y="1611"/>
                    </a:lnTo>
                    <a:lnTo>
                      <a:pt x="0" y="0"/>
                    </a:lnTo>
                    <a:lnTo>
                      <a:pt x="31" y="0"/>
                    </a:lnTo>
                    <a:lnTo>
                      <a:pt x="31" y="1611"/>
                    </a:lnTo>
                    <a:lnTo>
                      <a:pt x="16" y="1611"/>
                    </a:lnTo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grpSp>
            <p:nvGrpSpPr>
              <p:cNvPr id="38" name="Group 37"/>
              <p:cNvGrpSpPr/>
              <p:nvPr userDrawn="1"/>
            </p:nvGrpSpPr>
            <p:grpSpPr>
              <a:xfrm>
                <a:off x="5302755" y="5451197"/>
                <a:ext cx="2875214" cy="542997"/>
                <a:chOff x="3573463" y="5372100"/>
                <a:chExt cx="1538287" cy="290513"/>
              </a:xfrm>
            </p:grpSpPr>
            <p:sp>
              <p:nvSpPr>
                <p:cNvPr id="76" name="Freeform 75"/>
                <p:cNvSpPr>
                  <a:spLocks noChangeArrowheads="1"/>
                </p:cNvSpPr>
                <p:nvPr/>
              </p:nvSpPr>
              <p:spPr bwMode="auto">
                <a:xfrm>
                  <a:off x="4170363" y="5443538"/>
                  <a:ext cx="185737" cy="146050"/>
                </a:xfrm>
                <a:custGeom>
                  <a:avLst/>
                  <a:gdLst>
                    <a:gd name="T0" fmla="*/ 378 w 517"/>
                    <a:gd name="T1" fmla="*/ 313 h 405"/>
                    <a:gd name="T2" fmla="*/ 339 w 517"/>
                    <a:gd name="T3" fmla="*/ 316 h 405"/>
                    <a:gd name="T4" fmla="*/ 119 w 517"/>
                    <a:gd name="T5" fmla="*/ 316 h 405"/>
                    <a:gd name="T6" fmla="*/ 119 w 517"/>
                    <a:gd name="T7" fmla="*/ 243 h 405"/>
                    <a:gd name="T8" fmla="*/ 336 w 517"/>
                    <a:gd name="T9" fmla="*/ 243 h 405"/>
                    <a:gd name="T10" fmla="*/ 373 w 517"/>
                    <a:gd name="T11" fmla="*/ 246 h 405"/>
                    <a:gd name="T12" fmla="*/ 395 w 517"/>
                    <a:gd name="T13" fmla="*/ 280 h 405"/>
                    <a:gd name="T14" fmla="*/ 378 w 517"/>
                    <a:gd name="T15" fmla="*/ 313 h 405"/>
                    <a:gd name="T16" fmla="*/ 364 w 517"/>
                    <a:gd name="T17" fmla="*/ 155 h 405"/>
                    <a:gd name="T18" fmla="*/ 325 w 517"/>
                    <a:gd name="T19" fmla="*/ 161 h 405"/>
                    <a:gd name="T20" fmla="*/ 119 w 517"/>
                    <a:gd name="T21" fmla="*/ 161 h 405"/>
                    <a:gd name="T22" fmla="*/ 119 w 517"/>
                    <a:gd name="T23" fmla="*/ 90 h 405"/>
                    <a:gd name="T24" fmla="*/ 322 w 517"/>
                    <a:gd name="T25" fmla="*/ 90 h 405"/>
                    <a:gd name="T26" fmla="*/ 358 w 517"/>
                    <a:gd name="T27" fmla="*/ 93 h 405"/>
                    <a:gd name="T28" fmla="*/ 378 w 517"/>
                    <a:gd name="T29" fmla="*/ 127 h 405"/>
                    <a:gd name="T30" fmla="*/ 364 w 517"/>
                    <a:gd name="T31" fmla="*/ 155 h 405"/>
                    <a:gd name="T32" fmla="*/ 491 w 517"/>
                    <a:gd name="T33" fmla="*/ 220 h 405"/>
                    <a:gd name="T34" fmla="*/ 423 w 517"/>
                    <a:gd name="T35" fmla="*/ 201 h 405"/>
                    <a:gd name="T36" fmla="*/ 477 w 517"/>
                    <a:gd name="T37" fmla="*/ 181 h 405"/>
                    <a:gd name="T38" fmla="*/ 502 w 517"/>
                    <a:gd name="T39" fmla="*/ 107 h 405"/>
                    <a:gd name="T40" fmla="*/ 460 w 517"/>
                    <a:gd name="T41" fmla="*/ 17 h 405"/>
                    <a:gd name="T42" fmla="*/ 364 w 517"/>
                    <a:gd name="T43" fmla="*/ 0 h 405"/>
                    <a:gd name="T44" fmla="*/ 0 w 517"/>
                    <a:gd name="T45" fmla="*/ 0 h 405"/>
                    <a:gd name="T46" fmla="*/ 0 w 517"/>
                    <a:gd name="T47" fmla="*/ 404 h 405"/>
                    <a:gd name="T48" fmla="*/ 381 w 517"/>
                    <a:gd name="T49" fmla="*/ 404 h 405"/>
                    <a:gd name="T50" fmla="*/ 471 w 517"/>
                    <a:gd name="T51" fmla="*/ 390 h 405"/>
                    <a:gd name="T52" fmla="*/ 516 w 517"/>
                    <a:gd name="T53" fmla="*/ 294 h 405"/>
                    <a:gd name="T54" fmla="*/ 491 w 517"/>
                    <a:gd name="T55" fmla="*/ 220 h 4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517" h="405">
                      <a:moveTo>
                        <a:pt x="378" y="313"/>
                      </a:moveTo>
                      <a:cubicBezTo>
                        <a:pt x="370" y="316"/>
                        <a:pt x="364" y="316"/>
                        <a:pt x="339" y="316"/>
                      </a:cubicBezTo>
                      <a:lnTo>
                        <a:pt x="119" y="316"/>
                      </a:lnTo>
                      <a:lnTo>
                        <a:pt x="119" y="243"/>
                      </a:lnTo>
                      <a:lnTo>
                        <a:pt x="336" y="243"/>
                      </a:lnTo>
                      <a:cubicBezTo>
                        <a:pt x="361" y="243"/>
                        <a:pt x="367" y="243"/>
                        <a:pt x="373" y="246"/>
                      </a:cubicBezTo>
                      <a:cubicBezTo>
                        <a:pt x="387" y="248"/>
                        <a:pt x="395" y="260"/>
                        <a:pt x="395" y="280"/>
                      </a:cubicBezTo>
                      <a:cubicBezTo>
                        <a:pt x="395" y="296"/>
                        <a:pt x="389" y="308"/>
                        <a:pt x="378" y="313"/>
                      </a:cubicBezTo>
                      <a:close/>
                      <a:moveTo>
                        <a:pt x="364" y="155"/>
                      </a:moveTo>
                      <a:cubicBezTo>
                        <a:pt x="356" y="161"/>
                        <a:pt x="347" y="161"/>
                        <a:pt x="325" y="161"/>
                      </a:cubicBezTo>
                      <a:lnTo>
                        <a:pt x="119" y="161"/>
                      </a:lnTo>
                      <a:lnTo>
                        <a:pt x="119" y="90"/>
                      </a:lnTo>
                      <a:lnTo>
                        <a:pt x="322" y="90"/>
                      </a:lnTo>
                      <a:cubicBezTo>
                        <a:pt x="344" y="90"/>
                        <a:pt x="350" y="90"/>
                        <a:pt x="358" y="93"/>
                      </a:cubicBezTo>
                      <a:cubicBezTo>
                        <a:pt x="370" y="99"/>
                        <a:pt x="378" y="110"/>
                        <a:pt x="378" y="127"/>
                      </a:cubicBezTo>
                      <a:cubicBezTo>
                        <a:pt x="378" y="141"/>
                        <a:pt x="373" y="153"/>
                        <a:pt x="364" y="155"/>
                      </a:cubicBezTo>
                      <a:close/>
                      <a:moveTo>
                        <a:pt x="491" y="220"/>
                      </a:moveTo>
                      <a:cubicBezTo>
                        <a:pt x="477" y="209"/>
                        <a:pt x="460" y="203"/>
                        <a:pt x="423" y="201"/>
                      </a:cubicBezTo>
                      <a:cubicBezTo>
                        <a:pt x="452" y="195"/>
                        <a:pt x="466" y="192"/>
                        <a:pt x="477" y="181"/>
                      </a:cubicBezTo>
                      <a:cubicBezTo>
                        <a:pt x="494" y="167"/>
                        <a:pt x="502" y="141"/>
                        <a:pt x="502" y="107"/>
                      </a:cubicBezTo>
                      <a:cubicBezTo>
                        <a:pt x="502" y="62"/>
                        <a:pt x="488" y="34"/>
                        <a:pt x="460" y="17"/>
                      </a:cubicBezTo>
                      <a:cubicBezTo>
                        <a:pt x="440" y="6"/>
                        <a:pt x="412" y="0"/>
                        <a:pt x="364" y="0"/>
                      </a:cubicBezTo>
                      <a:lnTo>
                        <a:pt x="0" y="0"/>
                      </a:lnTo>
                      <a:lnTo>
                        <a:pt x="0" y="404"/>
                      </a:lnTo>
                      <a:lnTo>
                        <a:pt x="381" y="404"/>
                      </a:lnTo>
                      <a:cubicBezTo>
                        <a:pt x="426" y="404"/>
                        <a:pt x="452" y="401"/>
                        <a:pt x="471" y="390"/>
                      </a:cubicBezTo>
                      <a:cubicBezTo>
                        <a:pt x="500" y="375"/>
                        <a:pt x="516" y="342"/>
                        <a:pt x="516" y="294"/>
                      </a:cubicBezTo>
                      <a:cubicBezTo>
                        <a:pt x="516" y="257"/>
                        <a:pt x="508" y="234"/>
                        <a:pt x="491" y="22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77" name="Freeform 76"/>
                <p:cNvSpPr>
                  <a:spLocks noChangeArrowheads="1"/>
                </p:cNvSpPr>
                <p:nvPr/>
              </p:nvSpPr>
              <p:spPr bwMode="auto">
                <a:xfrm>
                  <a:off x="4375150" y="5443538"/>
                  <a:ext cx="220663" cy="146050"/>
                </a:xfrm>
                <a:custGeom>
                  <a:avLst/>
                  <a:gdLst>
                    <a:gd name="T0" fmla="*/ 392 w 611"/>
                    <a:gd name="T1" fmla="*/ 248 h 405"/>
                    <a:gd name="T2" fmla="*/ 220 w 611"/>
                    <a:gd name="T3" fmla="*/ 248 h 405"/>
                    <a:gd name="T4" fmla="*/ 305 w 611"/>
                    <a:gd name="T5" fmla="*/ 88 h 405"/>
                    <a:gd name="T6" fmla="*/ 392 w 611"/>
                    <a:gd name="T7" fmla="*/ 248 h 405"/>
                    <a:gd name="T8" fmla="*/ 610 w 611"/>
                    <a:gd name="T9" fmla="*/ 404 h 405"/>
                    <a:gd name="T10" fmla="*/ 390 w 611"/>
                    <a:gd name="T11" fmla="*/ 0 h 405"/>
                    <a:gd name="T12" fmla="*/ 226 w 611"/>
                    <a:gd name="T13" fmla="*/ 0 h 405"/>
                    <a:gd name="T14" fmla="*/ 0 w 611"/>
                    <a:gd name="T15" fmla="*/ 404 h 405"/>
                    <a:gd name="T16" fmla="*/ 138 w 611"/>
                    <a:gd name="T17" fmla="*/ 404 h 405"/>
                    <a:gd name="T18" fmla="*/ 178 w 611"/>
                    <a:gd name="T19" fmla="*/ 333 h 405"/>
                    <a:gd name="T20" fmla="*/ 437 w 611"/>
                    <a:gd name="T21" fmla="*/ 333 h 405"/>
                    <a:gd name="T22" fmla="*/ 477 w 611"/>
                    <a:gd name="T23" fmla="*/ 404 h 405"/>
                    <a:gd name="T24" fmla="*/ 610 w 611"/>
                    <a:gd name="T25" fmla="*/ 404 h 4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611" h="405">
                      <a:moveTo>
                        <a:pt x="392" y="248"/>
                      </a:moveTo>
                      <a:lnTo>
                        <a:pt x="220" y="248"/>
                      </a:lnTo>
                      <a:lnTo>
                        <a:pt x="305" y="88"/>
                      </a:lnTo>
                      <a:lnTo>
                        <a:pt x="392" y="248"/>
                      </a:lnTo>
                      <a:close/>
                      <a:moveTo>
                        <a:pt x="610" y="404"/>
                      </a:moveTo>
                      <a:lnTo>
                        <a:pt x="390" y="0"/>
                      </a:lnTo>
                      <a:lnTo>
                        <a:pt x="226" y="0"/>
                      </a:lnTo>
                      <a:lnTo>
                        <a:pt x="0" y="404"/>
                      </a:lnTo>
                      <a:lnTo>
                        <a:pt x="138" y="404"/>
                      </a:lnTo>
                      <a:lnTo>
                        <a:pt x="178" y="333"/>
                      </a:lnTo>
                      <a:lnTo>
                        <a:pt x="437" y="333"/>
                      </a:lnTo>
                      <a:lnTo>
                        <a:pt x="477" y="404"/>
                      </a:lnTo>
                      <a:lnTo>
                        <a:pt x="610" y="40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78" name="Freeform 77"/>
                <p:cNvSpPr>
                  <a:spLocks noChangeArrowheads="1"/>
                </p:cNvSpPr>
                <p:nvPr/>
              </p:nvSpPr>
              <p:spPr bwMode="auto">
                <a:xfrm>
                  <a:off x="4614863" y="5443538"/>
                  <a:ext cx="200025" cy="146050"/>
                </a:xfrm>
                <a:custGeom>
                  <a:avLst/>
                  <a:gdLst>
                    <a:gd name="T0" fmla="*/ 553 w 554"/>
                    <a:gd name="T1" fmla="*/ 404 h 405"/>
                    <a:gd name="T2" fmla="*/ 553 w 554"/>
                    <a:gd name="T3" fmla="*/ 0 h 405"/>
                    <a:gd name="T4" fmla="*/ 437 w 554"/>
                    <a:gd name="T5" fmla="*/ 0 h 405"/>
                    <a:gd name="T6" fmla="*/ 440 w 554"/>
                    <a:gd name="T7" fmla="*/ 308 h 405"/>
                    <a:gd name="T8" fmla="*/ 195 w 554"/>
                    <a:gd name="T9" fmla="*/ 0 h 405"/>
                    <a:gd name="T10" fmla="*/ 0 w 554"/>
                    <a:gd name="T11" fmla="*/ 0 h 405"/>
                    <a:gd name="T12" fmla="*/ 0 w 554"/>
                    <a:gd name="T13" fmla="*/ 404 h 405"/>
                    <a:gd name="T14" fmla="*/ 119 w 554"/>
                    <a:gd name="T15" fmla="*/ 404 h 405"/>
                    <a:gd name="T16" fmla="*/ 116 w 554"/>
                    <a:gd name="T17" fmla="*/ 102 h 405"/>
                    <a:gd name="T18" fmla="*/ 356 w 554"/>
                    <a:gd name="T19" fmla="*/ 404 h 405"/>
                    <a:gd name="T20" fmla="*/ 553 w 554"/>
                    <a:gd name="T21" fmla="*/ 404 h 4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54" h="405">
                      <a:moveTo>
                        <a:pt x="553" y="404"/>
                      </a:moveTo>
                      <a:lnTo>
                        <a:pt x="553" y="0"/>
                      </a:lnTo>
                      <a:lnTo>
                        <a:pt x="437" y="0"/>
                      </a:lnTo>
                      <a:lnTo>
                        <a:pt x="440" y="308"/>
                      </a:lnTo>
                      <a:lnTo>
                        <a:pt x="195" y="0"/>
                      </a:lnTo>
                      <a:lnTo>
                        <a:pt x="0" y="0"/>
                      </a:lnTo>
                      <a:lnTo>
                        <a:pt x="0" y="404"/>
                      </a:lnTo>
                      <a:lnTo>
                        <a:pt x="119" y="404"/>
                      </a:lnTo>
                      <a:lnTo>
                        <a:pt x="116" y="102"/>
                      </a:lnTo>
                      <a:lnTo>
                        <a:pt x="356" y="404"/>
                      </a:lnTo>
                      <a:lnTo>
                        <a:pt x="553" y="404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79" name="Freeform 78"/>
                <p:cNvSpPr>
                  <a:spLocks noChangeArrowheads="1"/>
                </p:cNvSpPr>
                <p:nvPr/>
              </p:nvSpPr>
              <p:spPr bwMode="auto">
                <a:xfrm>
                  <a:off x="4849813" y="5443538"/>
                  <a:ext cx="184150" cy="147637"/>
                </a:xfrm>
                <a:custGeom>
                  <a:avLst/>
                  <a:gdLst>
                    <a:gd name="T0" fmla="*/ 511 w 512"/>
                    <a:gd name="T1" fmla="*/ 254 h 408"/>
                    <a:gd name="T2" fmla="*/ 392 w 512"/>
                    <a:gd name="T3" fmla="*/ 254 h 408"/>
                    <a:gd name="T4" fmla="*/ 370 w 512"/>
                    <a:gd name="T5" fmla="*/ 302 h 408"/>
                    <a:gd name="T6" fmla="*/ 243 w 512"/>
                    <a:gd name="T7" fmla="*/ 311 h 408"/>
                    <a:gd name="T8" fmla="*/ 118 w 512"/>
                    <a:gd name="T9" fmla="*/ 209 h 408"/>
                    <a:gd name="T10" fmla="*/ 121 w 512"/>
                    <a:gd name="T11" fmla="*/ 153 h 408"/>
                    <a:gd name="T12" fmla="*/ 169 w 512"/>
                    <a:gd name="T13" fmla="*/ 99 h 408"/>
                    <a:gd name="T14" fmla="*/ 274 w 512"/>
                    <a:gd name="T15" fmla="*/ 96 h 408"/>
                    <a:gd name="T16" fmla="*/ 389 w 512"/>
                    <a:gd name="T17" fmla="*/ 144 h 408"/>
                    <a:gd name="T18" fmla="*/ 508 w 512"/>
                    <a:gd name="T19" fmla="*/ 144 h 408"/>
                    <a:gd name="T20" fmla="*/ 508 w 512"/>
                    <a:gd name="T21" fmla="*/ 130 h 408"/>
                    <a:gd name="T22" fmla="*/ 440 w 512"/>
                    <a:gd name="T23" fmla="*/ 12 h 408"/>
                    <a:gd name="T24" fmla="*/ 243 w 512"/>
                    <a:gd name="T25" fmla="*/ 0 h 408"/>
                    <a:gd name="T26" fmla="*/ 54 w 512"/>
                    <a:gd name="T27" fmla="*/ 26 h 408"/>
                    <a:gd name="T28" fmla="*/ 0 w 512"/>
                    <a:gd name="T29" fmla="*/ 195 h 408"/>
                    <a:gd name="T30" fmla="*/ 51 w 512"/>
                    <a:gd name="T31" fmla="*/ 381 h 408"/>
                    <a:gd name="T32" fmla="*/ 234 w 512"/>
                    <a:gd name="T33" fmla="*/ 407 h 408"/>
                    <a:gd name="T34" fmla="*/ 477 w 512"/>
                    <a:gd name="T35" fmla="*/ 378 h 408"/>
                    <a:gd name="T36" fmla="*/ 511 w 512"/>
                    <a:gd name="T37" fmla="*/ 274 h 408"/>
                    <a:gd name="T38" fmla="*/ 511 w 512"/>
                    <a:gd name="T39" fmla="*/ 254 h 4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12" h="408">
                      <a:moveTo>
                        <a:pt x="511" y="254"/>
                      </a:moveTo>
                      <a:lnTo>
                        <a:pt x="392" y="254"/>
                      </a:lnTo>
                      <a:cubicBezTo>
                        <a:pt x="392" y="283"/>
                        <a:pt x="387" y="294"/>
                        <a:pt x="370" y="302"/>
                      </a:cubicBezTo>
                      <a:cubicBezTo>
                        <a:pt x="353" y="311"/>
                        <a:pt x="341" y="311"/>
                        <a:pt x="243" y="311"/>
                      </a:cubicBezTo>
                      <a:cubicBezTo>
                        <a:pt x="130" y="311"/>
                        <a:pt x="118" y="302"/>
                        <a:pt x="118" y="209"/>
                      </a:cubicBezTo>
                      <a:cubicBezTo>
                        <a:pt x="118" y="187"/>
                        <a:pt x="118" y="161"/>
                        <a:pt x="121" y="153"/>
                      </a:cubicBezTo>
                      <a:cubicBezTo>
                        <a:pt x="124" y="119"/>
                        <a:pt x="138" y="105"/>
                        <a:pt x="169" y="99"/>
                      </a:cubicBezTo>
                      <a:cubicBezTo>
                        <a:pt x="178" y="99"/>
                        <a:pt x="223" y="96"/>
                        <a:pt x="274" y="96"/>
                      </a:cubicBezTo>
                      <a:cubicBezTo>
                        <a:pt x="375" y="96"/>
                        <a:pt x="387" y="99"/>
                        <a:pt x="389" y="144"/>
                      </a:cubicBezTo>
                      <a:lnTo>
                        <a:pt x="508" y="144"/>
                      </a:lnTo>
                      <a:lnTo>
                        <a:pt x="508" y="130"/>
                      </a:lnTo>
                      <a:cubicBezTo>
                        <a:pt x="508" y="62"/>
                        <a:pt x="488" y="29"/>
                        <a:pt x="440" y="12"/>
                      </a:cubicBezTo>
                      <a:cubicBezTo>
                        <a:pt x="412" y="3"/>
                        <a:pt x="370" y="0"/>
                        <a:pt x="243" y="0"/>
                      </a:cubicBezTo>
                      <a:cubicBezTo>
                        <a:pt x="130" y="0"/>
                        <a:pt x="90" y="6"/>
                        <a:pt x="54" y="26"/>
                      </a:cubicBezTo>
                      <a:cubicBezTo>
                        <a:pt x="11" y="51"/>
                        <a:pt x="0" y="88"/>
                        <a:pt x="0" y="195"/>
                      </a:cubicBezTo>
                      <a:cubicBezTo>
                        <a:pt x="0" y="314"/>
                        <a:pt x="11" y="356"/>
                        <a:pt x="51" y="381"/>
                      </a:cubicBezTo>
                      <a:cubicBezTo>
                        <a:pt x="85" y="401"/>
                        <a:pt x="121" y="407"/>
                        <a:pt x="234" y="407"/>
                      </a:cubicBezTo>
                      <a:cubicBezTo>
                        <a:pt x="415" y="407"/>
                        <a:pt x="443" y="404"/>
                        <a:pt x="477" y="378"/>
                      </a:cubicBezTo>
                      <a:cubicBezTo>
                        <a:pt x="502" y="364"/>
                        <a:pt x="511" y="333"/>
                        <a:pt x="511" y="274"/>
                      </a:cubicBezTo>
                      <a:lnTo>
                        <a:pt x="511" y="254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0" name="Freeform 79"/>
                <p:cNvSpPr>
                  <a:spLocks noChangeArrowheads="1"/>
                </p:cNvSpPr>
                <p:nvPr/>
              </p:nvSpPr>
              <p:spPr bwMode="auto">
                <a:xfrm>
                  <a:off x="5067300" y="5443538"/>
                  <a:ext cx="44450" cy="146050"/>
                </a:xfrm>
                <a:custGeom>
                  <a:avLst/>
                  <a:gdLst>
                    <a:gd name="T0" fmla="*/ 60 w 122"/>
                    <a:gd name="T1" fmla="*/ 404 h 405"/>
                    <a:gd name="T2" fmla="*/ 0 w 122"/>
                    <a:gd name="T3" fmla="*/ 404 h 405"/>
                    <a:gd name="T4" fmla="*/ 0 w 122"/>
                    <a:gd name="T5" fmla="*/ 0 h 405"/>
                    <a:gd name="T6" fmla="*/ 121 w 122"/>
                    <a:gd name="T7" fmla="*/ 0 h 405"/>
                    <a:gd name="T8" fmla="*/ 121 w 122"/>
                    <a:gd name="T9" fmla="*/ 404 h 405"/>
                    <a:gd name="T10" fmla="*/ 60 w 122"/>
                    <a:gd name="T11" fmla="*/ 404 h 4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2" h="405">
                      <a:moveTo>
                        <a:pt x="60" y="404"/>
                      </a:moveTo>
                      <a:lnTo>
                        <a:pt x="0" y="404"/>
                      </a:lnTo>
                      <a:lnTo>
                        <a:pt x="0" y="0"/>
                      </a:lnTo>
                      <a:lnTo>
                        <a:pt x="121" y="0"/>
                      </a:lnTo>
                      <a:lnTo>
                        <a:pt x="121" y="404"/>
                      </a:lnTo>
                      <a:lnTo>
                        <a:pt x="60" y="404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1" name="Freeform 80"/>
                <p:cNvSpPr>
                  <a:spLocks noChangeArrowheads="1"/>
                </p:cNvSpPr>
                <p:nvPr/>
              </p:nvSpPr>
              <p:spPr bwMode="auto">
                <a:xfrm>
                  <a:off x="3573463" y="5372100"/>
                  <a:ext cx="566737" cy="290513"/>
                </a:xfrm>
                <a:custGeom>
                  <a:avLst/>
                  <a:gdLst>
                    <a:gd name="T0" fmla="*/ 1167 w 1574"/>
                    <a:gd name="T1" fmla="*/ 288 h 808"/>
                    <a:gd name="T2" fmla="*/ 1082 w 1574"/>
                    <a:gd name="T3" fmla="*/ 448 h 808"/>
                    <a:gd name="T4" fmla="*/ 1254 w 1574"/>
                    <a:gd name="T5" fmla="*/ 448 h 808"/>
                    <a:gd name="T6" fmla="*/ 1167 w 1574"/>
                    <a:gd name="T7" fmla="*/ 288 h 808"/>
                    <a:gd name="T8" fmla="*/ 1472 w 1574"/>
                    <a:gd name="T9" fmla="*/ 604 h 808"/>
                    <a:gd name="T10" fmla="*/ 1252 w 1574"/>
                    <a:gd name="T11" fmla="*/ 200 h 808"/>
                    <a:gd name="T12" fmla="*/ 1088 w 1574"/>
                    <a:gd name="T13" fmla="*/ 200 h 808"/>
                    <a:gd name="T14" fmla="*/ 862 w 1574"/>
                    <a:gd name="T15" fmla="*/ 604 h 808"/>
                    <a:gd name="T16" fmla="*/ 1000 w 1574"/>
                    <a:gd name="T17" fmla="*/ 604 h 808"/>
                    <a:gd name="T18" fmla="*/ 1040 w 1574"/>
                    <a:gd name="T19" fmla="*/ 533 h 808"/>
                    <a:gd name="T20" fmla="*/ 1299 w 1574"/>
                    <a:gd name="T21" fmla="*/ 533 h 808"/>
                    <a:gd name="T22" fmla="*/ 1339 w 1574"/>
                    <a:gd name="T23" fmla="*/ 604 h 808"/>
                    <a:gd name="T24" fmla="*/ 1472 w 1574"/>
                    <a:gd name="T25" fmla="*/ 604 h 808"/>
                    <a:gd name="T26" fmla="*/ 628 w 1574"/>
                    <a:gd name="T27" fmla="*/ 389 h 808"/>
                    <a:gd name="T28" fmla="*/ 524 w 1574"/>
                    <a:gd name="T29" fmla="*/ 358 h 808"/>
                    <a:gd name="T30" fmla="*/ 460 w 1574"/>
                    <a:gd name="T31" fmla="*/ 355 h 808"/>
                    <a:gd name="T32" fmla="*/ 347 w 1574"/>
                    <a:gd name="T33" fmla="*/ 355 h 808"/>
                    <a:gd name="T34" fmla="*/ 299 w 1574"/>
                    <a:gd name="T35" fmla="*/ 353 h 808"/>
                    <a:gd name="T36" fmla="*/ 270 w 1574"/>
                    <a:gd name="T37" fmla="*/ 319 h 808"/>
                    <a:gd name="T38" fmla="*/ 313 w 1574"/>
                    <a:gd name="T39" fmla="*/ 285 h 808"/>
                    <a:gd name="T40" fmla="*/ 423 w 1574"/>
                    <a:gd name="T41" fmla="*/ 282 h 808"/>
                    <a:gd name="T42" fmla="*/ 516 w 1574"/>
                    <a:gd name="T43" fmla="*/ 321 h 808"/>
                    <a:gd name="T44" fmla="*/ 633 w 1574"/>
                    <a:gd name="T45" fmla="*/ 321 h 808"/>
                    <a:gd name="T46" fmla="*/ 580 w 1574"/>
                    <a:gd name="T47" fmla="*/ 209 h 808"/>
                    <a:gd name="T48" fmla="*/ 400 w 1574"/>
                    <a:gd name="T49" fmla="*/ 194 h 808"/>
                    <a:gd name="T50" fmla="*/ 248 w 1574"/>
                    <a:gd name="T51" fmla="*/ 200 h 808"/>
                    <a:gd name="T52" fmla="*/ 146 w 1574"/>
                    <a:gd name="T53" fmla="*/ 321 h 808"/>
                    <a:gd name="T54" fmla="*/ 206 w 1574"/>
                    <a:gd name="T55" fmla="*/ 432 h 808"/>
                    <a:gd name="T56" fmla="*/ 321 w 1574"/>
                    <a:gd name="T57" fmla="*/ 443 h 808"/>
                    <a:gd name="T58" fmla="*/ 431 w 1574"/>
                    <a:gd name="T59" fmla="*/ 443 h 808"/>
                    <a:gd name="T60" fmla="*/ 491 w 1574"/>
                    <a:gd name="T61" fmla="*/ 443 h 808"/>
                    <a:gd name="T62" fmla="*/ 527 w 1574"/>
                    <a:gd name="T63" fmla="*/ 477 h 808"/>
                    <a:gd name="T64" fmla="*/ 366 w 1574"/>
                    <a:gd name="T65" fmla="*/ 516 h 808"/>
                    <a:gd name="T66" fmla="*/ 290 w 1574"/>
                    <a:gd name="T67" fmla="*/ 513 h 808"/>
                    <a:gd name="T68" fmla="*/ 268 w 1574"/>
                    <a:gd name="T69" fmla="*/ 471 h 808"/>
                    <a:gd name="T70" fmla="*/ 146 w 1574"/>
                    <a:gd name="T71" fmla="*/ 471 h 808"/>
                    <a:gd name="T72" fmla="*/ 146 w 1574"/>
                    <a:gd name="T73" fmla="*/ 494 h 808"/>
                    <a:gd name="T74" fmla="*/ 211 w 1574"/>
                    <a:gd name="T75" fmla="*/ 592 h 808"/>
                    <a:gd name="T76" fmla="*/ 372 w 1574"/>
                    <a:gd name="T77" fmla="*/ 604 h 808"/>
                    <a:gd name="T78" fmla="*/ 541 w 1574"/>
                    <a:gd name="T79" fmla="*/ 598 h 808"/>
                    <a:gd name="T80" fmla="*/ 653 w 1574"/>
                    <a:gd name="T81" fmla="*/ 480 h 808"/>
                    <a:gd name="T82" fmla="*/ 628 w 1574"/>
                    <a:gd name="T83" fmla="*/ 389 h 808"/>
                    <a:gd name="T84" fmla="*/ 403 w 1574"/>
                    <a:gd name="T85" fmla="*/ 0 h 808"/>
                    <a:gd name="T86" fmla="*/ 786 w 1574"/>
                    <a:gd name="T87" fmla="*/ 276 h 808"/>
                    <a:gd name="T88" fmla="*/ 1170 w 1574"/>
                    <a:gd name="T89" fmla="*/ 0 h 808"/>
                    <a:gd name="T90" fmla="*/ 1573 w 1574"/>
                    <a:gd name="T91" fmla="*/ 403 h 808"/>
                    <a:gd name="T92" fmla="*/ 1170 w 1574"/>
                    <a:gd name="T93" fmla="*/ 807 h 808"/>
                    <a:gd name="T94" fmla="*/ 786 w 1574"/>
                    <a:gd name="T95" fmla="*/ 530 h 808"/>
                    <a:gd name="T96" fmla="*/ 403 w 1574"/>
                    <a:gd name="T97" fmla="*/ 807 h 808"/>
                    <a:gd name="T98" fmla="*/ 0 w 1574"/>
                    <a:gd name="T99" fmla="*/ 403 h 808"/>
                    <a:gd name="T100" fmla="*/ 403 w 1574"/>
                    <a:gd name="T101" fmla="*/ 0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574" h="808">
                      <a:moveTo>
                        <a:pt x="1167" y="288"/>
                      </a:moveTo>
                      <a:lnTo>
                        <a:pt x="1082" y="448"/>
                      </a:lnTo>
                      <a:lnTo>
                        <a:pt x="1254" y="448"/>
                      </a:lnTo>
                      <a:lnTo>
                        <a:pt x="1167" y="288"/>
                      </a:lnTo>
                      <a:close/>
                      <a:moveTo>
                        <a:pt x="1472" y="604"/>
                      </a:moveTo>
                      <a:lnTo>
                        <a:pt x="1252" y="200"/>
                      </a:lnTo>
                      <a:lnTo>
                        <a:pt x="1088" y="200"/>
                      </a:lnTo>
                      <a:lnTo>
                        <a:pt x="862" y="604"/>
                      </a:lnTo>
                      <a:lnTo>
                        <a:pt x="1000" y="604"/>
                      </a:lnTo>
                      <a:lnTo>
                        <a:pt x="1040" y="533"/>
                      </a:lnTo>
                      <a:lnTo>
                        <a:pt x="1299" y="533"/>
                      </a:lnTo>
                      <a:lnTo>
                        <a:pt x="1339" y="604"/>
                      </a:lnTo>
                      <a:lnTo>
                        <a:pt x="1472" y="604"/>
                      </a:lnTo>
                      <a:close/>
                      <a:moveTo>
                        <a:pt x="628" y="389"/>
                      </a:moveTo>
                      <a:cubicBezTo>
                        <a:pt x="608" y="367"/>
                        <a:pt x="586" y="361"/>
                        <a:pt x="524" y="358"/>
                      </a:cubicBezTo>
                      <a:cubicBezTo>
                        <a:pt x="491" y="358"/>
                        <a:pt x="468" y="355"/>
                        <a:pt x="460" y="355"/>
                      </a:cubicBezTo>
                      <a:lnTo>
                        <a:pt x="347" y="355"/>
                      </a:lnTo>
                      <a:cubicBezTo>
                        <a:pt x="307" y="355"/>
                        <a:pt x="304" y="355"/>
                        <a:pt x="299" y="353"/>
                      </a:cubicBezTo>
                      <a:cubicBezTo>
                        <a:pt x="282" y="347"/>
                        <a:pt x="270" y="338"/>
                        <a:pt x="270" y="319"/>
                      </a:cubicBezTo>
                      <a:cubicBezTo>
                        <a:pt x="270" y="296"/>
                        <a:pt x="282" y="288"/>
                        <a:pt x="313" y="285"/>
                      </a:cubicBezTo>
                      <a:cubicBezTo>
                        <a:pt x="333" y="285"/>
                        <a:pt x="386" y="282"/>
                        <a:pt x="423" y="282"/>
                      </a:cubicBezTo>
                      <a:cubicBezTo>
                        <a:pt x="505" y="282"/>
                        <a:pt x="516" y="288"/>
                        <a:pt x="516" y="321"/>
                      </a:cubicBezTo>
                      <a:lnTo>
                        <a:pt x="633" y="321"/>
                      </a:lnTo>
                      <a:cubicBezTo>
                        <a:pt x="633" y="251"/>
                        <a:pt x="619" y="226"/>
                        <a:pt x="580" y="209"/>
                      </a:cubicBezTo>
                      <a:cubicBezTo>
                        <a:pt x="550" y="197"/>
                        <a:pt x="519" y="194"/>
                        <a:pt x="400" y="194"/>
                      </a:cubicBezTo>
                      <a:cubicBezTo>
                        <a:pt x="321" y="194"/>
                        <a:pt x="287" y="194"/>
                        <a:pt x="248" y="200"/>
                      </a:cubicBezTo>
                      <a:cubicBezTo>
                        <a:pt x="172" y="209"/>
                        <a:pt x="146" y="242"/>
                        <a:pt x="146" y="321"/>
                      </a:cubicBezTo>
                      <a:cubicBezTo>
                        <a:pt x="146" y="386"/>
                        <a:pt x="163" y="415"/>
                        <a:pt x="206" y="432"/>
                      </a:cubicBezTo>
                      <a:cubicBezTo>
                        <a:pt x="225" y="440"/>
                        <a:pt x="262" y="443"/>
                        <a:pt x="321" y="443"/>
                      </a:cubicBezTo>
                      <a:lnTo>
                        <a:pt x="431" y="443"/>
                      </a:lnTo>
                      <a:lnTo>
                        <a:pt x="491" y="443"/>
                      </a:lnTo>
                      <a:cubicBezTo>
                        <a:pt x="516" y="446"/>
                        <a:pt x="527" y="457"/>
                        <a:pt x="527" y="477"/>
                      </a:cubicBezTo>
                      <a:cubicBezTo>
                        <a:pt x="527" y="513"/>
                        <a:pt x="513" y="516"/>
                        <a:pt x="366" y="516"/>
                      </a:cubicBezTo>
                      <a:cubicBezTo>
                        <a:pt x="335" y="516"/>
                        <a:pt x="302" y="513"/>
                        <a:pt x="290" y="513"/>
                      </a:cubicBezTo>
                      <a:cubicBezTo>
                        <a:pt x="273" y="511"/>
                        <a:pt x="268" y="502"/>
                        <a:pt x="268" y="471"/>
                      </a:cubicBezTo>
                      <a:lnTo>
                        <a:pt x="146" y="471"/>
                      </a:lnTo>
                      <a:lnTo>
                        <a:pt x="146" y="494"/>
                      </a:lnTo>
                      <a:cubicBezTo>
                        <a:pt x="146" y="550"/>
                        <a:pt x="166" y="581"/>
                        <a:pt x="211" y="592"/>
                      </a:cubicBezTo>
                      <a:cubicBezTo>
                        <a:pt x="239" y="601"/>
                        <a:pt x="282" y="604"/>
                        <a:pt x="372" y="604"/>
                      </a:cubicBezTo>
                      <a:cubicBezTo>
                        <a:pt x="460" y="604"/>
                        <a:pt x="493" y="604"/>
                        <a:pt x="541" y="598"/>
                      </a:cubicBezTo>
                      <a:cubicBezTo>
                        <a:pt x="622" y="592"/>
                        <a:pt x="653" y="561"/>
                        <a:pt x="653" y="480"/>
                      </a:cubicBezTo>
                      <a:cubicBezTo>
                        <a:pt x="653" y="437"/>
                        <a:pt x="645" y="406"/>
                        <a:pt x="628" y="389"/>
                      </a:cubicBezTo>
                      <a:close/>
                      <a:moveTo>
                        <a:pt x="403" y="0"/>
                      </a:moveTo>
                      <a:cubicBezTo>
                        <a:pt x="580" y="0"/>
                        <a:pt x="732" y="115"/>
                        <a:pt x="786" y="276"/>
                      </a:cubicBezTo>
                      <a:cubicBezTo>
                        <a:pt x="839" y="115"/>
                        <a:pt x="989" y="0"/>
                        <a:pt x="1170" y="0"/>
                      </a:cubicBezTo>
                      <a:cubicBezTo>
                        <a:pt x="1393" y="0"/>
                        <a:pt x="1573" y="180"/>
                        <a:pt x="1573" y="403"/>
                      </a:cubicBezTo>
                      <a:cubicBezTo>
                        <a:pt x="1573" y="626"/>
                        <a:pt x="1393" y="807"/>
                        <a:pt x="1170" y="807"/>
                      </a:cubicBezTo>
                      <a:cubicBezTo>
                        <a:pt x="992" y="807"/>
                        <a:pt x="839" y="691"/>
                        <a:pt x="786" y="530"/>
                      </a:cubicBezTo>
                      <a:cubicBezTo>
                        <a:pt x="732" y="691"/>
                        <a:pt x="583" y="807"/>
                        <a:pt x="403" y="807"/>
                      </a:cubicBezTo>
                      <a:cubicBezTo>
                        <a:pt x="177" y="807"/>
                        <a:pt x="0" y="626"/>
                        <a:pt x="0" y="403"/>
                      </a:cubicBezTo>
                      <a:cubicBezTo>
                        <a:pt x="0" y="180"/>
                        <a:pt x="180" y="0"/>
                        <a:pt x="403" y="0"/>
                      </a:cubicBezTo>
                      <a:close/>
                    </a:path>
                  </a:pathLst>
                </a:custGeom>
                <a:solidFill>
                  <a:srgbClr val="004A9A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39" name="Group 38"/>
              <p:cNvGrpSpPr/>
              <p:nvPr userDrawn="1"/>
            </p:nvGrpSpPr>
            <p:grpSpPr>
              <a:xfrm>
                <a:off x="2780636" y="5451197"/>
                <a:ext cx="1851532" cy="542997"/>
                <a:chOff x="2224088" y="5346700"/>
                <a:chExt cx="990600" cy="290513"/>
              </a:xfrm>
            </p:grpSpPr>
            <p:sp>
              <p:nvSpPr>
                <p:cNvPr id="72" name="Freeform 17"/>
                <p:cNvSpPr>
                  <a:spLocks noChangeArrowheads="1"/>
                </p:cNvSpPr>
                <p:nvPr/>
              </p:nvSpPr>
              <p:spPr bwMode="auto">
                <a:xfrm>
                  <a:off x="2890838" y="5410200"/>
                  <a:ext cx="323850" cy="222250"/>
                </a:xfrm>
                <a:custGeom>
                  <a:avLst/>
                  <a:gdLst>
                    <a:gd name="T0" fmla="*/ 771 w 899"/>
                    <a:gd name="T1" fmla="*/ 582 h 619"/>
                    <a:gd name="T2" fmla="*/ 706 w 899"/>
                    <a:gd name="T3" fmla="*/ 618 h 619"/>
                    <a:gd name="T4" fmla="*/ 593 w 899"/>
                    <a:gd name="T5" fmla="*/ 590 h 619"/>
                    <a:gd name="T6" fmla="*/ 587 w 899"/>
                    <a:gd name="T7" fmla="*/ 570 h 619"/>
                    <a:gd name="T8" fmla="*/ 683 w 899"/>
                    <a:gd name="T9" fmla="*/ 249 h 619"/>
                    <a:gd name="T10" fmla="*/ 649 w 899"/>
                    <a:gd name="T11" fmla="*/ 203 h 619"/>
                    <a:gd name="T12" fmla="*/ 161 w 899"/>
                    <a:gd name="T13" fmla="*/ 590 h 619"/>
                    <a:gd name="T14" fmla="*/ 91 w 899"/>
                    <a:gd name="T15" fmla="*/ 613 h 619"/>
                    <a:gd name="T16" fmla="*/ 12 w 899"/>
                    <a:gd name="T17" fmla="*/ 593 h 619"/>
                    <a:gd name="T18" fmla="*/ 3 w 899"/>
                    <a:gd name="T19" fmla="*/ 567 h 619"/>
                    <a:gd name="T20" fmla="*/ 12 w 899"/>
                    <a:gd name="T21" fmla="*/ 528 h 619"/>
                    <a:gd name="T22" fmla="*/ 184 w 899"/>
                    <a:gd name="T23" fmla="*/ 48 h 619"/>
                    <a:gd name="T24" fmla="*/ 204 w 899"/>
                    <a:gd name="T25" fmla="*/ 34 h 619"/>
                    <a:gd name="T26" fmla="*/ 260 w 899"/>
                    <a:gd name="T27" fmla="*/ 28 h 619"/>
                    <a:gd name="T28" fmla="*/ 345 w 899"/>
                    <a:gd name="T29" fmla="*/ 43 h 619"/>
                    <a:gd name="T30" fmla="*/ 345 w 899"/>
                    <a:gd name="T31" fmla="*/ 76 h 619"/>
                    <a:gd name="T32" fmla="*/ 395 w 899"/>
                    <a:gd name="T33" fmla="*/ 144 h 619"/>
                    <a:gd name="T34" fmla="*/ 757 w 899"/>
                    <a:gd name="T35" fmla="*/ 3 h 619"/>
                    <a:gd name="T36" fmla="*/ 898 w 899"/>
                    <a:gd name="T37" fmla="*/ 127 h 619"/>
                    <a:gd name="T38" fmla="*/ 771 w 899"/>
                    <a:gd name="T39" fmla="*/ 582 h 6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899" h="619">
                      <a:moveTo>
                        <a:pt x="771" y="582"/>
                      </a:moveTo>
                      <a:cubicBezTo>
                        <a:pt x="759" y="613"/>
                        <a:pt x="737" y="618"/>
                        <a:pt x="706" y="618"/>
                      </a:cubicBezTo>
                      <a:cubicBezTo>
                        <a:pt x="652" y="618"/>
                        <a:pt x="613" y="604"/>
                        <a:pt x="593" y="590"/>
                      </a:cubicBezTo>
                      <a:cubicBezTo>
                        <a:pt x="590" y="587"/>
                        <a:pt x="585" y="579"/>
                        <a:pt x="587" y="570"/>
                      </a:cubicBezTo>
                      <a:cubicBezTo>
                        <a:pt x="607" y="511"/>
                        <a:pt x="683" y="297"/>
                        <a:pt x="683" y="249"/>
                      </a:cubicBezTo>
                      <a:cubicBezTo>
                        <a:pt x="683" y="223"/>
                        <a:pt x="675" y="203"/>
                        <a:pt x="649" y="203"/>
                      </a:cubicBezTo>
                      <a:cubicBezTo>
                        <a:pt x="497" y="203"/>
                        <a:pt x="215" y="531"/>
                        <a:pt x="161" y="590"/>
                      </a:cubicBezTo>
                      <a:cubicBezTo>
                        <a:pt x="144" y="610"/>
                        <a:pt x="119" y="613"/>
                        <a:pt x="91" y="613"/>
                      </a:cubicBezTo>
                      <a:cubicBezTo>
                        <a:pt x="54" y="613"/>
                        <a:pt x="14" y="593"/>
                        <a:pt x="12" y="593"/>
                      </a:cubicBezTo>
                      <a:cubicBezTo>
                        <a:pt x="0" y="587"/>
                        <a:pt x="0" y="582"/>
                        <a:pt x="3" y="567"/>
                      </a:cubicBezTo>
                      <a:lnTo>
                        <a:pt x="12" y="528"/>
                      </a:lnTo>
                      <a:cubicBezTo>
                        <a:pt x="29" y="457"/>
                        <a:pt x="122" y="192"/>
                        <a:pt x="184" y="48"/>
                      </a:cubicBezTo>
                      <a:cubicBezTo>
                        <a:pt x="187" y="43"/>
                        <a:pt x="189" y="37"/>
                        <a:pt x="204" y="34"/>
                      </a:cubicBezTo>
                      <a:cubicBezTo>
                        <a:pt x="209" y="34"/>
                        <a:pt x="232" y="28"/>
                        <a:pt x="260" y="28"/>
                      </a:cubicBezTo>
                      <a:cubicBezTo>
                        <a:pt x="283" y="28"/>
                        <a:pt x="322" y="31"/>
                        <a:pt x="345" y="43"/>
                      </a:cubicBezTo>
                      <a:lnTo>
                        <a:pt x="345" y="76"/>
                      </a:lnTo>
                      <a:cubicBezTo>
                        <a:pt x="345" y="90"/>
                        <a:pt x="347" y="144"/>
                        <a:pt x="395" y="144"/>
                      </a:cubicBezTo>
                      <a:cubicBezTo>
                        <a:pt x="477" y="144"/>
                        <a:pt x="624" y="3"/>
                        <a:pt x="757" y="3"/>
                      </a:cubicBezTo>
                      <a:cubicBezTo>
                        <a:pt x="872" y="0"/>
                        <a:pt x="898" y="71"/>
                        <a:pt x="898" y="127"/>
                      </a:cubicBezTo>
                      <a:cubicBezTo>
                        <a:pt x="898" y="220"/>
                        <a:pt x="788" y="536"/>
                        <a:pt x="771" y="582"/>
                      </a:cubicBezTo>
                    </a:path>
                  </a:pathLst>
                </a:custGeom>
                <a:solidFill>
                  <a:srgbClr val="E63323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73" name="Freeform 18"/>
                <p:cNvSpPr>
                  <a:spLocks noChangeArrowheads="1"/>
                </p:cNvSpPr>
                <p:nvPr/>
              </p:nvSpPr>
              <p:spPr bwMode="auto">
                <a:xfrm>
                  <a:off x="2552700" y="5478463"/>
                  <a:ext cx="74613" cy="68262"/>
                </a:xfrm>
                <a:custGeom>
                  <a:avLst/>
                  <a:gdLst>
                    <a:gd name="T0" fmla="*/ 183 w 209"/>
                    <a:gd name="T1" fmla="*/ 133 h 190"/>
                    <a:gd name="T2" fmla="*/ 73 w 209"/>
                    <a:gd name="T3" fmla="*/ 189 h 190"/>
                    <a:gd name="T4" fmla="*/ 0 w 209"/>
                    <a:gd name="T5" fmla="*/ 139 h 190"/>
                    <a:gd name="T6" fmla="*/ 22 w 209"/>
                    <a:gd name="T7" fmla="*/ 65 h 190"/>
                    <a:gd name="T8" fmla="*/ 135 w 209"/>
                    <a:gd name="T9" fmla="*/ 0 h 190"/>
                    <a:gd name="T10" fmla="*/ 208 w 209"/>
                    <a:gd name="T11" fmla="*/ 54 h 190"/>
                    <a:gd name="T12" fmla="*/ 183 w 209"/>
                    <a:gd name="T13" fmla="*/ 133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9" h="190">
                      <a:moveTo>
                        <a:pt x="183" y="133"/>
                      </a:moveTo>
                      <a:cubicBezTo>
                        <a:pt x="163" y="184"/>
                        <a:pt x="110" y="189"/>
                        <a:pt x="73" y="189"/>
                      </a:cubicBezTo>
                      <a:cubicBezTo>
                        <a:pt x="17" y="189"/>
                        <a:pt x="0" y="170"/>
                        <a:pt x="0" y="139"/>
                      </a:cubicBezTo>
                      <a:cubicBezTo>
                        <a:pt x="0" y="113"/>
                        <a:pt x="19" y="71"/>
                        <a:pt x="22" y="65"/>
                      </a:cubicBezTo>
                      <a:cubicBezTo>
                        <a:pt x="48" y="9"/>
                        <a:pt x="93" y="0"/>
                        <a:pt x="135" y="0"/>
                      </a:cubicBezTo>
                      <a:cubicBezTo>
                        <a:pt x="172" y="3"/>
                        <a:pt x="208" y="17"/>
                        <a:pt x="208" y="54"/>
                      </a:cubicBezTo>
                      <a:cubicBezTo>
                        <a:pt x="208" y="74"/>
                        <a:pt x="186" y="124"/>
                        <a:pt x="183" y="133"/>
                      </a:cubicBezTo>
                    </a:path>
                  </a:pathLst>
                </a:custGeom>
                <a:solidFill>
                  <a:srgbClr val="E63323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74" name="Freeform 19"/>
                <p:cNvSpPr>
                  <a:spLocks noChangeArrowheads="1"/>
                </p:cNvSpPr>
                <p:nvPr/>
              </p:nvSpPr>
              <p:spPr bwMode="auto">
                <a:xfrm>
                  <a:off x="2224088" y="5346700"/>
                  <a:ext cx="312737" cy="290513"/>
                </a:xfrm>
                <a:custGeom>
                  <a:avLst/>
                  <a:gdLst>
                    <a:gd name="T0" fmla="*/ 635 w 867"/>
                    <a:gd name="T1" fmla="*/ 531 h 808"/>
                    <a:gd name="T2" fmla="*/ 550 w 867"/>
                    <a:gd name="T3" fmla="*/ 531 h 808"/>
                    <a:gd name="T4" fmla="*/ 294 w 867"/>
                    <a:gd name="T5" fmla="*/ 525 h 808"/>
                    <a:gd name="T6" fmla="*/ 268 w 867"/>
                    <a:gd name="T7" fmla="*/ 531 h 808"/>
                    <a:gd name="T8" fmla="*/ 435 w 867"/>
                    <a:gd name="T9" fmla="*/ 678 h 808"/>
                    <a:gd name="T10" fmla="*/ 576 w 867"/>
                    <a:gd name="T11" fmla="*/ 615 h 808"/>
                    <a:gd name="T12" fmla="*/ 725 w 867"/>
                    <a:gd name="T13" fmla="*/ 604 h 808"/>
                    <a:gd name="T14" fmla="*/ 866 w 867"/>
                    <a:gd name="T15" fmla="*/ 646 h 808"/>
                    <a:gd name="T16" fmla="*/ 491 w 867"/>
                    <a:gd name="T17" fmla="*/ 807 h 808"/>
                    <a:gd name="T18" fmla="*/ 0 w 867"/>
                    <a:gd name="T19" fmla="*/ 497 h 808"/>
                    <a:gd name="T20" fmla="*/ 706 w 867"/>
                    <a:gd name="T21" fmla="*/ 0 h 808"/>
                    <a:gd name="T22" fmla="*/ 866 w 867"/>
                    <a:gd name="T23" fmla="*/ 316 h 808"/>
                    <a:gd name="T24" fmla="*/ 635 w 867"/>
                    <a:gd name="T25" fmla="*/ 531 h 808"/>
                    <a:gd name="T26" fmla="*/ 613 w 867"/>
                    <a:gd name="T27" fmla="*/ 209 h 808"/>
                    <a:gd name="T28" fmla="*/ 342 w 867"/>
                    <a:gd name="T29" fmla="*/ 367 h 808"/>
                    <a:gd name="T30" fmla="*/ 356 w 867"/>
                    <a:gd name="T31" fmla="*/ 378 h 808"/>
                    <a:gd name="T32" fmla="*/ 565 w 867"/>
                    <a:gd name="T33" fmla="*/ 378 h 808"/>
                    <a:gd name="T34" fmla="*/ 644 w 867"/>
                    <a:gd name="T35" fmla="*/ 297 h 808"/>
                    <a:gd name="T36" fmla="*/ 613 w 867"/>
                    <a:gd name="T37" fmla="*/ 209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867" h="808">
                      <a:moveTo>
                        <a:pt x="635" y="531"/>
                      </a:moveTo>
                      <a:lnTo>
                        <a:pt x="550" y="531"/>
                      </a:lnTo>
                      <a:cubicBezTo>
                        <a:pt x="466" y="531"/>
                        <a:pt x="294" y="525"/>
                        <a:pt x="294" y="525"/>
                      </a:cubicBezTo>
                      <a:cubicBezTo>
                        <a:pt x="280" y="525"/>
                        <a:pt x="268" y="522"/>
                        <a:pt x="268" y="531"/>
                      </a:cubicBezTo>
                      <a:cubicBezTo>
                        <a:pt x="268" y="590"/>
                        <a:pt x="333" y="678"/>
                        <a:pt x="435" y="678"/>
                      </a:cubicBezTo>
                      <a:cubicBezTo>
                        <a:pt x="514" y="678"/>
                        <a:pt x="565" y="630"/>
                        <a:pt x="576" y="615"/>
                      </a:cubicBezTo>
                      <a:cubicBezTo>
                        <a:pt x="576" y="615"/>
                        <a:pt x="666" y="604"/>
                        <a:pt x="725" y="604"/>
                      </a:cubicBezTo>
                      <a:cubicBezTo>
                        <a:pt x="782" y="604"/>
                        <a:pt x="866" y="613"/>
                        <a:pt x="866" y="646"/>
                      </a:cubicBezTo>
                      <a:cubicBezTo>
                        <a:pt x="866" y="709"/>
                        <a:pt x="663" y="807"/>
                        <a:pt x="491" y="807"/>
                      </a:cubicBezTo>
                      <a:cubicBezTo>
                        <a:pt x="232" y="807"/>
                        <a:pt x="0" y="666"/>
                        <a:pt x="0" y="497"/>
                      </a:cubicBezTo>
                      <a:cubicBezTo>
                        <a:pt x="0" y="215"/>
                        <a:pt x="548" y="0"/>
                        <a:pt x="706" y="0"/>
                      </a:cubicBezTo>
                      <a:cubicBezTo>
                        <a:pt x="847" y="3"/>
                        <a:pt x="866" y="232"/>
                        <a:pt x="866" y="316"/>
                      </a:cubicBezTo>
                      <a:cubicBezTo>
                        <a:pt x="866" y="494"/>
                        <a:pt x="756" y="531"/>
                        <a:pt x="635" y="531"/>
                      </a:cubicBezTo>
                      <a:close/>
                      <a:moveTo>
                        <a:pt x="613" y="209"/>
                      </a:moveTo>
                      <a:cubicBezTo>
                        <a:pt x="519" y="209"/>
                        <a:pt x="356" y="350"/>
                        <a:pt x="342" y="367"/>
                      </a:cubicBezTo>
                      <a:cubicBezTo>
                        <a:pt x="330" y="378"/>
                        <a:pt x="339" y="378"/>
                        <a:pt x="356" y="378"/>
                      </a:cubicBezTo>
                      <a:lnTo>
                        <a:pt x="565" y="378"/>
                      </a:lnTo>
                      <a:cubicBezTo>
                        <a:pt x="638" y="376"/>
                        <a:pt x="644" y="364"/>
                        <a:pt x="644" y="297"/>
                      </a:cubicBezTo>
                      <a:cubicBezTo>
                        <a:pt x="644" y="260"/>
                        <a:pt x="641" y="209"/>
                        <a:pt x="613" y="209"/>
                      </a:cubicBezTo>
                      <a:close/>
                    </a:path>
                  </a:pathLst>
                </a:custGeom>
                <a:solidFill>
                  <a:srgbClr val="E63323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75" name="Freeform 20"/>
                <p:cNvSpPr>
                  <a:spLocks noChangeArrowheads="1"/>
                </p:cNvSpPr>
                <p:nvPr/>
              </p:nvSpPr>
              <p:spPr bwMode="auto">
                <a:xfrm>
                  <a:off x="2632075" y="5402263"/>
                  <a:ext cx="266700" cy="230187"/>
                </a:xfrm>
                <a:custGeom>
                  <a:avLst/>
                  <a:gdLst>
                    <a:gd name="T0" fmla="*/ 640 w 743"/>
                    <a:gd name="T1" fmla="*/ 441 h 639"/>
                    <a:gd name="T2" fmla="*/ 245 w 743"/>
                    <a:gd name="T3" fmla="*/ 638 h 639"/>
                    <a:gd name="T4" fmla="*/ 0 w 743"/>
                    <a:gd name="T5" fmla="*/ 497 h 639"/>
                    <a:gd name="T6" fmla="*/ 101 w 743"/>
                    <a:gd name="T7" fmla="*/ 206 h 639"/>
                    <a:gd name="T8" fmla="*/ 482 w 743"/>
                    <a:gd name="T9" fmla="*/ 3 h 639"/>
                    <a:gd name="T10" fmla="*/ 742 w 743"/>
                    <a:gd name="T11" fmla="*/ 144 h 639"/>
                    <a:gd name="T12" fmla="*/ 640 w 743"/>
                    <a:gd name="T13" fmla="*/ 441 h 639"/>
                    <a:gd name="T14" fmla="*/ 355 w 743"/>
                    <a:gd name="T15" fmla="*/ 173 h 639"/>
                    <a:gd name="T16" fmla="*/ 273 w 743"/>
                    <a:gd name="T17" fmla="*/ 458 h 639"/>
                    <a:gd name="T18" fmla="*/ 327 w 743"/>
                    <a:gd name="T19" fmla="*/ 489 h 639"/>
                    <a:gd name="T20" fmla="*/ 389 w 743"/>
                    <a:gd name="T21" fmla="*/ 472 h 639"/>
                    <a:gd name="T22" fmla="*/ 468 w 743"/>
                    <a:gd name="T23" fmla="*/ 187 h 639"/>
                    <a:gd name="T24" fmla="*/ 417 w 743"/>
                    <a:gd name="T25" fmla="*/ 153 h 639"/>
                    <a:gd name="T26" fmla="*/ 355 w 743"/>
                    <a:gd name="T27" fmla="*/ 173 h 6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43" h="639">
                      <a:moveTo>
                        <a:pt x="640" y="441"/>
                      </a:moveTo>
                      <a:cubicBezTo>
                        <a:pt x="539" y="638"/>
                        <a:pt x="400" y="638"/>
                        <a:pt x="245" y="638"/>
                      </a:cubicBezTo>
                      <a:cubicBezTo>
                        <a:pt x="169" y="638"/>
                        <a:pt x="0" y="638"/>
                        <a:pt x="0" y="497"/>
                      </a:cubicBezTo>
                      <a:cubicBezTo>
                        <a:pt x="0" y="432"/>
                        <a:pt x="56" y="317"/>
                        <a:pt x="101" y="206"/>
                      </a:cubicBezTo>
                      <a:cubicBezTo>
                        <a:pt x="121" y="158"/>
                        <a:pt x="203" y="3"/>
                        <a:pt x="482" y="3"/>
                      </a:cubicBezTo>
                      <a:cubicBezTo>
                        <a:pt x="598" y="0"/>
                        <a:pt x="742" y="20"/>
                        <a:pt x="742" y="144"/>
                      </a:cubicBezTo>
                      <a:cubicBezTo>
                        <a:pt x="742" y="221"/>
                        <a:pt x="666" y="393"/>
                        <a:pt x="640" y="441"/>
                      </a:cubicBezTo>
                      <a:close/>
                      <a:moveTo>
                        <a:pt x="355" y="173"/>
                      </a:moveTo>
                      <a:cubicBezTo>
                        <a:pt x="307" y="240"/>
                        <a:pt x="273" y="410"/>
                        <a:pt x="273" y="458"/>
                      </a:cubicBezTo>
                      <a:cubicBezTo>
                        <a:pt x="273" y="489"/>
                        <a:pt x="296" y="489"/>
                        <a:pt x="327" y="489"/>
                      </a:cubicBezTo>
                      <a:cubicBezTo>
                        <a:pt x="344" y="489"/>
                        <a:pt x="372" y="489"/>
                        <a:pt x="389" y="472"/>
                      </a:cubicBezTo>
                      <a:cubicBezTo>
                        <a:pt x="431" y="427"/>
                        <a:pt x="468" y="223"/>
                        <a:pt x="468" y="187"/>
                      </a:cubicBezTo>
                      <a:cubicBezTo>
                        <a:pt x="468" y="164"/>
                        <a:pt x="468" y="153"/>
                        <a:pt x="417" y="153"/>
                      </a:cubicBezTo>
                      <a:cubicBezTo>
                        <a:pt x="397" y="153"/>
                        <a:pt x="369" y="156"/>
                        <a:pt x="355" y="173"/>
                      </a:cubicBezTo>
                      <a:close/>
                    </a:path>
                  </a:pathLst>
                </a:custGeom>
                <a:solidFill>
                  <a:srgbClr val="E63323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2" name="TextBox 1"/>
          <p:cNvSpPr txBox="1"/>
          <p:nvPr userDrawn="1"/>
        </p:nvSpPr>
        <p:spPr>
          <a:xfrm>
            <a:off x="1738507" y="2332666"/>
            <a:ext cx="871498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 sz="5000" b="1" kern="1200" baseline="0" dirty="0">
                <a:solidFill>
                  <a:schemeClr val="bg1"/>
                </a:solidFill>
                <a:latin typeface="+mn-lt"/>
                <a:ea typeface="Verdana" charset="0"/>
                <a:cs typeface="Verdana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266361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7"/>
          <p:cNvSpPr>
            <a:spLocks noGrp="1"/>
          </p:cNvSpPr>
          <p:nvPr>
            <p:ph type="sldNum" sz="quarter" idx="4"/>
          </p:nvPr>
        </p:nvSpPr>
        <p:spPr>
          <a:xfrm>
            <a:off x="5923109" y="6386179"/>
            <a:ext cx="345782" cy="283906"/>
          </a:xfrm>
          <a:prstGeom prst="rect">
            <a:avLst/>
          </a:prstGeom>
        </p:spPr>
        <p:txBody>
          <a:bodyPr vert="horz" wrap="none" lIns="72000" tIns="72000" rIns="72000" bIns="72000" rtlCol="0" anchor="ctr">
            <a:spAutoFit/>
          </a:bodyPr>
          <a:lstStyle>
            <a:lvl1pPr marL="0" algn="ctr" defTabSz="914400" rtl="0" eaLnBrk="1" latinLnBrk="0" hangingPunct="1">
              <a:defRPr lang="en-US" sz="900" b="0" kern="1200" smtClean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fld id="{908A6156-A627-474E-9F69-6627F5ED25C1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659012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226417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Slide" r:id="rId12" imgW="225" imgH="225" progId="TCLayout.ActiveDocument.1">
                  <p:embed/>
                </p:oleObj>
              </mc:Choice>
              <mc:Fallback>
                <p:oleObj name="think-cell Slide" r:id="rId12" imgW="225" imgH="2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Slide Number Placeholder 47"/>
          <p:cNvSpPr>
            <a:spLocks noGrp="1"/>
          </p:cNvSpPr>
          <p:nvPr>
            <p:ph type="sldNum" sz="quarter" idx="4"/>
          </p:nvPr>
        </p:nvSpPr>
        <p:spPr>
          <a:xfrm>
            <a:off x="5923109" y="6386179"/>
            <a:ext cx="345782" cy="283906"/>
          </a:xfrm>
          <a:prstGeom prst="rect">
            <a:avLst/>
          </a:prstGeom>
        </p:spPr>
        <p:txBody>
          <a:bodyPr vert="horz" wrap="none" lIns="72000" tIns="72000" rIns="72000" bIns="72000" rtlCol="0" anchor="ctr">
            <a:spAutoFit/>
          </a:bodyPr>
          <a:lstStyle>
            <a:lvl1pPr marL="0" algn="ctr" defTabSz="914400" rtl="0" eaLnBrk="1" latinLnBrk="0" hangingPunct="1">
              <a:defRPr lang="en-US" sz="900" b="0" kern="1200" smtClean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fld id="{908A6156-A627-474E-9F69-6627F5ED25C1}" type="slidenum">
              <a:rPr lang="uk-UA" smtClean="0"/>
              <a:pPr/>
              <a:t>‹#›</a:t>
            </a:fld>
            <a:endParaRPr lang="uk-UA" dirty="0"/>
          </a:p>
        </p:txBody>
      </p:sp>
      <p:grpSp>
        <p:nvGrpSpPr>
          <p:cNvPr id="52" name="Group 51"/>
          <p:cNvGrpSpPr/>
          <p:nvPr userDrawn="1"/>
        </p:nvGrpSpPr>
        <p:grpSpPr>
          <a:xfrm>
            <a:off x="332439" y="6400523"/>
            <a:ext cx="2111461" cy="252144"/>
            <a:chOff x="1236663" y="4017963"/>
            <a:chExt cx="4862512" cy="580665"/>
          </a:xfrm>
        </p:grpSpPr>
        <p:grpSp>
          <p:nvGrpSpPr>
            <p:cNvPr id="74" name="Group 73"/>
            <p:cNvGrpSpPr/>
            <p:nvPr userDrawn="1"/>
          </p:nvGrpSpPr>
          <p:grpSpPr>
            <a:xfrm>
              <a:off x="1236663" y="4017963"/>
              <a:ext cx="3342915" cy="580665"/>
              <a:chOff x="1236663" y="4017963"/>
              <a:chExt cx="3342915" cy="580665"/>
            </a:xfrm>
          </p:grpSpPr>
          <p:sp>
            <p:nvSpPr>
              <p:cNvPr id="76" name="Freeform 75"/>
              <p:cNvSpPr>
                <a:spLocks noChangeArrowheads="1"/>
              </p:cNvSpPr>
              <p:nvPr/>
            </p:nvSpPr>
            <p:spPr bwMode="auto">
              <a:xfrm>
                <a:off x="3448050" y="4017963"/>
                <a:ext cx="1131528" cy="580665"/>
              </a:xfrm>
              <a:custGeom>
                <a:avLst/>
                <a:gdLst>
                  <a:gd name="connsiteX0" fmla="*/ 840120 w 1131528"/>
                  <a:gd name="connsiteY0" fmla="*/ 206375 h 580665"/>
                  <a:gd name="connsiteX1" fmla="*/ 902929 w 1131528"/>
                  <a:gd name="connsiteY1" fmla="*/ 321903 h 580665"/>
                  <a:gd name="connsiteX2" fmla="*/ 779463 w 1131528"/>
                  <a:gd name="connsiteY2" fmla="*/ 321903 h 580665"/>
                  <a:gd name="connsiteX3" fmla="*/ 784003 w 1131528"/>
                  <a:gd name="connsiteY3" fmla="*/ 145346 h 580665"/>
                  <a:gd name="connsiteX4" fmla="*/ 620504 w 1131528"/>
                  <a:gd name="connsiteY4" fmla="*/ 435679 h 580665"/>
                  <a:gd name="connsiteX5" fmla="*/ 720980 w 1131528"/>
                  <a:gd name="connsiteY5" fmla="*/ 435679 h 580665"/>
                  <a:gd name="connsiteX6" fmla="*/ 748350 w 1131528"/>
                  <a:gd name="connsiteY6" fmla="*/ 383872 h 580665"/>
                  <a:gd name="connsiteX7" fmla="*/ 935617 w 1131528"/>
                  <a:gd name="connsiteY7" fmla="*/ 383872 h 580665"/>
                  <a:gd name="connsiteX8" fmla="*/ 964068 w 1131528"/>
                  <a:gd name="connsiteY8" fmla="*/ 435679 h 580665"/>
                  <a:gd name="connsiteX9" fmla="*/ 1061663 w 1131528"/>
                  <a:gd name="connsiteY9" fmla="*/ 435679 h 580665"/>
                  <a:gd name="connsiteX10" fmla="*/ 902846 w 1131528"/>
                  <a:gd name="connsiteY10" fmla="*/ 145346 h 580665"/>
                  <a:gd name="connsiteX11" fmla="*/ 288464 w 1131528"/>
                  <a:gd name="connsiteY11" fmla="*/ 144267 h 580665"/>
                  <a:gd name="connsiteX12" fmla="*/ 179705 w 1131528"/>
                  <a:gd name="connsiteY12" fmla="*/ 149304 h 580665"/>
                  <a:gd name="connsiteX13" fmla="*/ 107679 w 1131528"/>
                  <a:gd name="connsiteY13" fmla="*/ 237807 h 580665"/>
                  <a:gd name="connsiteX14" fmla="*/ 150174 w 1131528"/>
                  <a:gd name="connsiteY14" fmla="*/ 315876 h 580665"/>
                  <a:gd name="connsiteX15" fmla="*/ 232644 w 1131528"/>
                  <a:gd name="connsiteY15" fmla="*/ 323072 h 580665"/>
                  <a:gd name="connsiteX16" fmla="*/ 312953 w 1131528"/>
                  <a:gd name="connsiteY16" fmla="*/ 323072 h 580665"/>
                  <a:gd name="connsiteX17" fmla="*/ 356169 w 1131528"/>
                  <a:gd name="connsiteY17" fmla="*/ 323791 h 580665"/>
                  <a:gd name="connsiteX18" fmla="*/ 382818 w 1131528"/>
                  <a:gd name="connsiteY18" fmla="*/ 348255 h 580665"/>
                  <a:gd name="connsiteX19" fmla="*/ 268297 w 1131528"/>
                  <a:gd name="connsiteY19" fmla="*/ 376677 h 580665"/>
                  <a:gd name="connsiteX20" fmla="*/ 213197 w 1131528"/>
                  <a:gd name="connsiteY20" fmla="*/ 373799 h 580665"/>
                  <a:gd name="connsiteX21" fmla="*/ 195911 w 1131528"/>
                  <a:gd name="connsiteY21" fmla="*/ 343219 h 580665"/>
                  <a:gd name="connsiteX22" fmla="*/ 109480 w 1131528"/>
                  <a:gd name="connsiteY22" fmla="*/ 343219 h 580665"/>
                  <a:gd name="connsiteX23" fmla="*/ 109480 w 1131528"/>
                  <a:gd name="connsiteY23" fmla="*/ 360488 h 580665"/>
                  <a:gd name="connsiteX24" fmla="*/ 156296 w 1131528"/>
                  <a:gd name="connsiteY24" fmla="*/ 430642 h 580665"/>
                  <a:gd name="connsiteX25" fmla="*/ 273339 w 1131528"/>
                  <a:gd name="connsiteY25" fmla="*/ 437838 h 580665"/>
                  <a:gd name="connsiteX26" fmla="*/ 394702 w 1131528"/>
                  <a:gd name="connsiteY26" fmla="*/ 433520 h 580665"/>
                  <a:gd name="connsiteX27" fmla="*/ 468889 w 1131528"/>
                  <a:gd name="connsiteY27" fmla="*/ 347176 h 580665"/>
                  <a:gd name="connsiteX28" fmla="*/ 450883 w 1131528"/>
                  <a:gd name="connsiteY28" fmla="*/ 282418 h 580665"/>
                  <a:gd name="connsiteX29" fmla="*/ 375616 w 1131528"/>
                  <a:gd name="connsiteY29" fmla="*/ 260112 h 580665"/>
                  <a:gd name="connsiteX30" fmla="*/ 330239 w 1131528"/>
                  <a:gd name="connsiteY30" fmla="*/ 259033 h 580665"/>
                  <a:gd name="connsiteX31" fmla="*/ 247769 w 1131528"/>
                  <a:gd name="connsiteY31" fmla="*/ 259033 h 580665"/>
                  <a:gd name="connsiteX32" fmla="*/ 213197 w 1131528"/>
                  <a:gd name="connsiteY32" fmla="*/ 256874 h 580665"/>
                  <a:gd name="connsiteX33" fmla="*/ 194110 w 1131528"/>
                  <a:gd name="connsiteY33" fmla="*/ 233490 h 580665"/>
                  <a:gd name="connsiteX34" fmla="*/ 223281 w 1131528"/>
                  <a:gd name="connsiteY34" fmla="*/ 209385 h 580665"/>
                  <a:gd name="connsiteX35" fmla="*/ 302869 w 1131528"/>
                  <a:gd name="connsiteY35" fmla="*/ 207226 h 580665"/>
                  <a:gd name="connsiteX36" fmla="*/ 370574 w 1131528"/>
                  <a:gd name="connsiteY36" fmla="*/ 235648 h 580665"/>
                  <a:gd name="connsiteX37" fmla="*/ 457005 w 1131528"/>
                  <a:gd name="connsiteY37" fmla="*/ 235648 h 580665"/>
                  <a:gd name="connsiteX38" fmla="*/ 418111 w 1131528"/>
                  <a:gd name="connsiteY38" fmla="*/ 154341 h 580665"/>
                  <a:gd name="connsiteX39" fmla="*/ 288464 w 1131528"/>
                  <a:gd name="connsiteY39" fmla="*/ 144267 h 580665"/>
                  <a:gd name="connsiteX40" fmla="*/ 290625 w 1131528"/>
                  <a:gd name="connsiteY40" fmla="*/ 0 h 580665"/>
                  <a:gd name="connsiteX41" fmla="*/ 565404 w 1131528"/>
                  <a:gd name="connsiteY41" fmla="*/ 198952 h 580665"/>
                  <a:gd name="connsiteX42" fmla="*/ 840903 w 1131528"/>
                  <a:gd name="connsiteY42" fmla="*/ 0 h 580665"/>
                  <a:gd name="connsiteX43" fmla="*/ 1131528 w 1131528"/>
                  <a:gd name="connsiteY43" fmla="*/ 290333 h 580665"/>
                  <a:gd name="connsiteX44" fmla="*/ 840903 w 1131528"/>
                  <a:gd name="connsiteY44" fmla="*/ 580665 h 580665"/>
                  <a:gd name="connsiteX45" fmla="*/ 565404 w 1131528"/>
                  <a:gd name="connsiteY45" fmla="*/ 381714 h 580665"/>
                  <a:gd name="connsiteX46" fmla="*/ 290625 w 1131528"/>
                  <a:gd name="connsiteY46" fmla="*/ 580665 h 580665"/>
                  <a:gd name="connsiteX47" fmla="*/ 0 w 1131528"/>
                  <a:gd name="connsiteY47" fmla="*/ 290333 h 580665"/>
                  <a:gd name="connsiteX48" fmla="*/ 290625 w 1131528"/>
                  <a:gd name="connsiteY48" fmla="*/ 0 h 580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1131528" h="580665">
                    <a:moveTo>
                      <a:pt x="840120" y="206375"/>
                    </a:moveTo>
                    <a:lnTo>
                      <a:pt x="902929" y="321903"/>
                    </a:lnTo>
                    <a:lnTo>
                      <a:pt x="779463" y="321903"/>
                    </a:lnTo>
                    <a:close/>
                    <a:moveTo>
                      <a:pt x="784003" y="145346"/>
                    </a:moveTo>
                    <a:lnTo>
                      <a:pt x="620504" y="435679"/>
                    </a:lnTo>
                    <a:lnTo>
                      <a:pt x="720980" y="435679"/>
                    </a:lnTo>
                    <a:lnTo>
                      <a:pt x="748350" y="383872"/>
                    </a:lnTo>
                    <a:lnTo>
                      <a:pt x="935617" y="383872"/>
                    </a:lnTo>
                    <a:lnTo>
                      <a:pt x="964068" y="435679"/>
                    </a:lnTo>
                    <a:lnTo>
                      <a:pt x="1061663" y="435679"/>
                    </a:lnTo>
                    <a:lnTo>
                      <a:pt x="902846" y="145346"/>
                    </a:lnTo>
                    <a:close/>
                    <a:moveTo>
                      <a:pt x="288464" y="144267"/>
                    </a:moveTo>
                    <a:cubicBezTo>
                      <a:pt x="232644" y="144267"/>
                      <a:pt x="208155" y="145346"/>
                      <a:pt x="179705" y="149304"/>
                    </a:cubicBezTo>
                    <a:cubicBezTo>
                      <a:pt x="126046" y="156499"/>
                      <a:pt x="107679" y="179884"/>
                      <a:pt x="107679" y="237807"/>
                    </a:cubicBezTo>
                    <a:cubicBezTo>
                      <a:pt x="107679" y="283497"/>
                      <a:pt x="119563" y="305803"/>
                      <a:pt x="150174" y="315876"/>
                    </a:cubicBezTo>
                    <a:cubicBezTo>
                      <a:pt x="165300" y="320913"/>
                      <a:pt x="189789" y="323072"/>
                      <a:pt x="232644" y="323072"/>
                    </a:cubicBezTo>
                    <a:lnTo>
                      <a:pt x="312953" y="323072"/>
                    </a:lnTo>
                    <a:cubicBezTo>
                      <a:pt x="348966" y="323072"/>
                      <a:pt x="351127" y="323791"/>
                      <a:pt x="356169" y="323791"/>
                    </a:cubicBezTo>
                    <a:cubicBezTo>
                      <a:pt x="373455" y="324871"/>
                      <a:pt x="382818" y="333145"/>
                      <a:pt x="382818" y="348255"/>
                    </a:cubicBezTo>
                    <a:cubicBezTo>
                      <a:pt x="382818" y="373799"/>
                      <a:pt x="371294" y="376677"/>
                      <a:pt x="268297" y="376677"/>
                    </a:cubicBezTo>
                    <a:cubicBezTo>
                      <a:pt x="246689" y="376677"/>
                      <a:pt x="221480" y="375598"/>
                      <a:pt x="213197" y="373799"/>
                    </a:cubicBezTo>
                    <a:cubicBezTo>
                      <a:pt x="200232" y="370561"/>
                      <a:pt x="196991" y="364445"/>
                      <a:pt x="195911" y="343219"/>
                    </a:cubicBezTo>
                    <a:lnTo>
                      <a:pt x="109480" y="343219"/>
                    </a:lnTo>
                    <a:cubicBezTo>
                      <a:pt x="109480" y="350414"/>
                      <a:pt x="109480" y="357609"/>
                      <a:pt x="109480" y="360488"/>
                    </a:cubicBezTo>
                    <a:cubicBezTo>
                      <a:pt x="109480" y="401141"/>
                      <a:pt x="123885" y="422368"/>
                      <a:pt x="156296" y="430642"/>
                    </a:cubicBezTo>
                    <a:cubicBezTo>
                      <a:pt x="177544" y="435679"/>
                      <a:pt x="207075" y="437838"/>
                      <a:pt x="273339" y="437838"/>
                    </a:cubicBezTo>
                    <a:cubicBezTo>
                      <a:pt x="334921" y="437838"/>
                      <a:pt x="360130" y="436758"/>
                      <a:pt x="394702" y="433520"/>
                    </a:cubicBezTo>
                    <a:cubicBezTo>
                      <a:pt x="449802" y="427404"/>
                      <a:pt x="471050" y="404019"/>
                      <a:pt x="468889" y="347176"/>
                    </a:cubicBezTo>
                    <a:cubicBezTo>
                      <a:pt x="468889" y="316956"/>
                      <a:pt x="462767" y="295370"/>
                      <a:pt x="450883" y="282418"/>
                    </a:cubicBezTo>
                    <a:cubicBezTo>
                      <a:pt x="436477" y="266948"/>
                      <a:pt x="419191" y="261911"/>
                      <a:pt x="375616" y="260112"/>
                    </a:cubicBezTo>
                    <a:cubicBezTo>
                      <a:pt x="352207" y="259033"/>
                      <a:pt x="334921" y="259033"/>
                      <a:pt x="330239" y="259033"/>
                    </a:cubicBezTo>
                    <a:lnTo>
                      <a:pt x="247769" y="259033"/>
                    </a:lnTo>
                    <a:cubicBezTo>
                      <a:pt x="220400" y="259033"/>
                      <a:pt x="218239" y="257954"/>
                      <a:pt x="213197" y="256874"/>
                    </a:cubicBezTo>
                    <a:cubicBezTo>
                      <a:pt x="200232" y="253996"/>
                      <a:pt x="194110" y="245722"/>
                      <a:pt x="194110" y="233490"/>
                    </a:cubicBezTo>
                    <a:cubicBezTo>
                      <a:pt x="194110" y="217300"/>
                      <a:pt x="202033" y="211184"/>
                      <a:pt x="223281" y="209385"/>
                    </a:cubicBezTo>
                    <a:cubicBezTo>
                      <a:pt x="236605" y="208306"/>
                      <a:pt x="275139" y="207226"/>
                      <a:pt x="302869" y="207226"/>
                    </a:cubicBezTo>
                    <a:cubicBezTo>
                      <a:pt x="362291" y="207226"/>
                      <a:pt x="370574" y="210105"/>
                      <a:pt x="370574" y="235648"/>
                    </a:cubicBezTo>
                    <a:lnTo>
                      <a:pt x="457005" y="235648"/>
                    </a:lnTo>
                    <a:cubicBezTo>
                      <a:pt x="457005" y="184921"/>
                      <a:pt x="447641" y="165493"/>
                      <a:pt x="418111" y="154341"/>
                    </a:cubicBezTo>
                    <a:cubicBezTo>
                      <a:pt x="395783" y="146426"/>
                      <a:pt x="373455" y="144267"/>
                      <a:pt x="288464" y="144267"/>
                    </a:cubicBezTo>
                    <a:close/>
                    <a:moveTo>
                      <a:pt x="290625" y="0"/>
                    </a:moveTo>
                    <a:cubicBezTo>
                      <a:pt x="418111" y="0"/>
                      <a:pt x="526870" y="83466"/>
                      <a:pt x="565404" y="198952"/>
                    </a:cubicBezTo>
                    <a:cubicBezTo>
                      <a:pt x="603218" y="83466"/>
                      <a:pt x="711977" y="0"/>
                      <a:pt x="840903" y="0"/>
                    </a:cubicBezTo>
                    <a:cubicBezTo>
                      <a:pt x="1001521" y="0"/>
                      <a:pt x="1131528" y="129876"/>
                      <a:pt x="1131528" y="290333"/>
                    </a:cubicBezTo>
                    <a:cubicBezTo>
                      <a:pt x="1131528" y="450789"/>
                      <a:pt x="1001521" y="580665"/>
                      <a:pt x="840903" y="580665"/>
                    </a:cubicBezTo>
                    <a:cubicBezTo>
                      <a:pt x="713057" y="580665"/>
                      <a:pt x="604298" y="497559"/>
                      <a:pt x="565404" y="381714"/>
                    </a:cubicBezTo>
                    <a:cubicBezTo>
                      <a:pt x="527950" y="497559"/>
                      <a:pt x="419191" y="580665"/>
                      <a:pt x="290625" y="580665"/>
                    </a:cubicBezTo>
                    <a:cubicBezTo>
                      <a:pt x="130007" y="580665"/>
                      <a:pt x="0" y="450789"/>
                      <a:pt x="0" y="290333"/>
                    </a:cubicBezTo>
                    <a:cubicBezTo>
                      <a:pt x="0" y="129876"/>
                      <a:pt x="130007" y="0"/>
                      <a:pt x="290625" y="0"/>
                    </a:cubicBezTo>
                    <a:close/>
                  </a:path>
                </a:pathLst>
              </a:custGeom>
              <a:solidFill>
                <a:srgbClr val="004A9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77" name="Freeform 76"/>
              <p:cNvSpPr>
                <a:spLocks noChangeArrowheads="1"/>
              </p:cNvSpPr>
              <p:nvPr/>
            </p:nvSpPr>
            <p:spPr bwMode="auto">
              <a:xfrm>
                <a:off x="1236663" y="4160838"/>
                <a:ext cx="323850" cy="290512"/>
              </a:xfrm>
              <a:custGeom>
                <a:avLst/>
                <a:gdLst>
                  <a:gd name="T0" fmla="*/ 0 w 901"/>
                  <a:gd name="T1" fmla="*/ 807 h 808"/>
                  <a:gd name="T2" fmla="*/ 0 w 901"/>
                  <a:gd name="T3" fmla="*/ 0 h 808"/>
                  <a:gd name="T4" fmla="*/ 892 w 901"/>
                  <a:gd name="T5" fmla="*/ 0 h 808"/>
                  <a:gd name="T6" fmla="*/ 892 w 901"/>
                  <a:gd name="T7" fmla="*/ 183 h 808"/>
                  <a:gd name="T8" fmla="*/ 240 w 901"/>
                  <a:gd name="T9" fmla="*/ 183 h 808"/>
                  <a:gd name="T10" fmla="*/ 240 w 901"/>
                  <a:gd name="T11" fmla="*/ 322 h 808"/>
                  <a:gd name="T12" fmla="*/ 855 w 901"/>
                  <a:gd name="T13" fmla="*/ 322 h 808"/>
                  <a:gd name="T14" fmla="*/ 855 w 901"/>
                  <a:gd name="T15" fmla="*/ 483 h 808"/>
                  <a:gd name="T16" fmla="*/ 240 w 901"/>
                  <a:gd name="T17" fmla="*/ 483 h 808"/>
                  <a:gd name="T18" fmla="*/ 240 w 901"/>
                  <a:gd name="T19" fmla="*/ 624 h 808"/>
                  <a:gd name="T20" fmla="*/ 900 w 901"/>
                  <a:gd name="T21" fmla="*/ 624 h 808"/>
                  <a:gd name="T22" fmla="*/ 900 w 901"/>
                  <a:gd name="T23" fmla="*/ 807 h 808"/>
                  <a:gd name="T24" fmla="*/ 0 w 901"/>
                  <a:gd name="T25" fmla="*/ 807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01" h="808">
                    <a:moveTo>
                      <a:pt x="0" y="807"/>
                    </a:moveTo>
                    <a:lnTo>
                      <a:pt x="0" y="0"/>
                    </a:lnTo>
                    <a:lnTo>
                      <a:pt x="892" y="0"/>
                    </a:lnTo>
                    <a:lnTo>
                      <a:pt x="892" y="183"/>
                    </a:lnTo>
                    <a:lnTo>
                      <a:pt x="240" y="183"/>
                    </a:lnTo>
                    <a:lnTo>
                      <a:pt x="240" y="322"/>
                    </a:lnTo>
                    <a:lnTo>
                      <a:pt x="855" y="322"/>
                    </a:lnTo>
                    <a:lnTo>
                      <a:pt x="855" y="483"/>
                    </a:lnTo>
                    <a:lnTo>
                      <a:pt x="240" y="483"/>
                    </a:lnTo>
                    <a:lnTo>
                      <a:pt x="240" y="624"/>
                    </a:lnTo>
                    <a:lnTo>
                      <a:pt x="900" y="624"/>
                    </a:lnTo>
                    <a:lnTo>
                      <a:pt x="900" y="807"/>
                    </a:lnTo>
                    <a:lnTo>
                      <a:pt x="0" y="807"/>
                    </a:lnTo>
                  </a:path>
                </a:pathLst>
              </a:custGeom>
              <a:solidFill>
                <a:srgbClr val="231E1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8" name="Freeform 77"/>
              <p:cNvSpPr>
                <a:spLocks noChangeArrowheads="1"/>
              </p:cNvSpPr>
              <p:nvPr/>
            </p:nvSpPr>
            <p:spPr bwMode="auto">
              <a:xfrm>
                <a:off x="1628775" y="4160838"/>
                <a:ext cx="398463" cy="290512"/>
              </a:xfrm>
              <a:custGeom>
                <a:avLst/>
                <a:gdLst>
                  <a:gd name="T0" fmla="*/ 712 w 1108"/>
                  <a:gd name="T1" fmla="*/ 807 h 808"/>
                  <a:gd name="T2" fmla="*/ 232 w 1108"/>
                  <a:gd name="T3" fmla="*/ 200 h 808"/>
                  <a:gd name="T4" fmla="*/ 238 w 1108"/>
                  <a:gd name="T5" fmla="*/ 807 h 808"/>
                  <a:gd name="T6" fmla="*/ 0 w 1108"/>
                  <a:gd name="T7" fmla="*/ 807 h 808"/>
                  <a:gd name="T8" fmla="*/ 0 w 1108"/>
                  <a:gd name="T9" fmla="*/ 0 h 808"/>
                  <a:gd name="T10" fmla="*/ 393 w 1108"/>
                  <a:gd name="T11" fmla="*/ 0 h 808"/>
                  <a:gd name="T12" fmla="*/ 881 w 1108"/>
                  <a:gd name="T13" fmla="*/ 615 h 808"/>
                  <a:gd name="T14" fmla="*/ 875 w 1108"/>
                  <a:gd name="T15" fmla="*/ 0 h 808"/>
                  <a:gd name="T16" fmla="*/ 1107 w 1108"/>
                  <a:gd name="T17" fmla="*/ 0 h 808"/>
                  <a:gd name="T18" fmla="*/ 1107 w 1108"/>
                  <a:gd name="T19" fmla="*/ 807 h 808"/>
                  <a:gd name="T20" fmla="*/ 712 w 1108"/>
                  <a:gd name="T21" fmla="*/ 807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8" h="808">
                    <a:moveTo>
                      <a:pt x="712" y="807"/>
                    </a:moveTo>
                    <a:lnTo>
                      <a:pt x="232" y="200"/>
                    </a:lnTo>
                    <a:lnTo>
                      <a:pt x="238" y="807"/>
                    </a:lnTo>
                    <a:lnTo>
                      <a:pt x="0" y="807"/>
                    </a:lnTo>
                    <a:lnTo>
                      <a:pt x="0" y="0"/>
                    </a:lnTo>
                    <a:lnTo>
                      <a:pt x="393" y="0"/>
                    </a:lnTo>
                    <a:lnTo>
                      <a:pt x="881" y="615"/>
                    </a:lnTo>
                    <a:lnTo>
                      <a:pt x="875" y="0"/>
                    </a:lnTo>
                    <a:lnTo>
                      <a:pt x="1107" y="0"/>
                    </a:lnTo>
                    <a:lnTo>
                      <a:pt x="1107" y="807"/>
                    </a:lnTo>
                    <a:lnTo>
                      <a:pt x="712" y="807"/>
                    </a:lnTo>
                  </a:path>
                </a:pathLst>
              </a:custGeom>
              <a:solidFill>
                <a:srgbClr val="231E1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9" name="Freeform 78"/>
              <p:cNvSpPr>
                <a:spLocks noChangeArrowheads="1"/>
              </p:cNvSpPr>
              <p:nvPr/>
            </p:nvSpPr>
            <p:spPr bwMode="auto">
              <a:xfrm>
                <a:off x="2103438" y="4160838"/>
                <a:ext cx="323850" cy="290512"/>
              </a:xfrm>
              <a:custGeom>
                <a:avLst/>
                <a:gdLst>
                  <a:gd name="T0" fmla="*/ 0 w 901"/>
                  <a:gd name="T1" fmla="*/ 807 h 808"/>
                  <a:gd name="T2" fmla="*/ 0 w 901"/>
                  <a:gd name="T3" fmla="*/ 0 h 808"/>
                  <a:gd name="T4" fmla="*/ 892 w 901"/>
                  <a:gd name="T5" fmla="*/ 0 h 808"/>
                  <a:gd name="T6" fmla="*/ 892 w 901"/>
                  <a:gd name="T7" fmla="*/ 183 h 808"/>
                  <a:gd name="T8" fmla="*/ 240 w 901"/>
                  <a:gd name="T9" fmla="*/ 183 h 808"/>
                  <a:gd name="T10" fmla="*/ 240 w 901"/>
                  <a:gd name="T11" fmla="*/ 322 h 808"/>
                  <a:gd name="T12" fmla="*/ 855 w 901"/>
                  <a:gd name="T13" fmla="*/ 322 h 808"/>
                  <a:gd name="T14" fmla="*/ 855 w 901"/>
                  <a:gd name="T15" fmla="*/ 483 h 808"/>
                  <a:gd name="T16" fmla="*/ 240 w 901"/>
                  <a:gd name="T17" fmla="*/ 483 h 808"/>
                  <a:gd name="T18" fmla="*/ 240 w 901"/>
                  <a:gd name="T19" fmla="*/ 624 h 808"/>
                  <a:gd name="T20" fmla="*/ 900 w 901"/>
                  <a:gd name="T21" fmla="*/ 624 h 808"/>
                  <a:gd name="T22" fmla="*/ 900 w 901"/>
                  <a:gd name="T23" fmla="*/ 807 h 808"/>
                  <a:gd name="T24" fmla="*/ 0 w 901"/>
                  <a:gd name="T25" fmla="*/ 807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01" h="808">
                    <a:moveTo>
                      <a:pt x="0" y="807"/>
                    </a:moveTo>
                    <a:lnTo>
                      <a:pt x="0" y="0"/>
                    </a:lnTo>
                    <a:lnTo>
                      <a:pt x="892" y="0"/>
                    </a:lnTo>
                    <a:lnTo>
                      <a:pt x="892" y="183"/>
                    </a:lnTo>
                    <a:lnTo>
                      <a:pt x="240" y="183"/>
                    </a:lnTo>
                    <a:lnTo>
                      <a:pt x="240" y="322"/>
                    </a:lnTo>
                    <a:lnTo>
                      <a:pt x="855" y="322"/>
                    </a:lnTo>
                    <a:lnTo>
                      <a:pt x="855" y="483"/>
                    </a:lnTo>
                    <a:lnTo>
                      <a:pt x="240" y="483"/>
                    </a:lnTo>
                    <a:lnTo>
                      <a:pt x="240" y="624"/>
                    </a:lnTo>
                    <a:lnTo>
                      <a:pt x="900" y="624"/>
                    </a:lnTo>
                    <a:lnTo>
                      <a:pt x="900" y="807"/>
                    </a:lnTo>
                    <a:lnTo>
                      <a:pt x="0" y="807"/>
                    </a:lnTo>
                  </a:path>
                </a:pathLst>
              </a:custGeom>
              <a:solidFill>
                <a:srgbClr val="231E1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0" name="Freeform 79"/>
              <p:cNvSpPr>
                <a:spLocks noChangeArrowheads="1"/>
              </p:cNvSpPr>
              <p:nvPr/>
            </p:nvSpPr>
            <p:spPr bwMode="auto">
              <a:xfrm>
                <a:off x="2495550" y="4162425"/>
                <a:ext cx="366713" cy="290513"/>
              </a:xfrm>
              <a:custGeom>
                <a:avLst/>
                <a:gdLst>
                  <a:gd name="T0" fmla="*/ 764 w 1017"/>
                  <a:gd name="T1" fmla="*/ 254 h 808"/>
                  <a:gd name="T2" fmla="*/ 747 w 1017"/>
                  <a:gd name="T3" fmla="*/ 220 h 808"/>
                  <a:gd name="T4" fmla="*/ 731 w 1017"/>
                  <a:gd name="T5" fmla="*/ 209 h 808"/>
                  <a:gd name="T6" fmla="*/ 711 w 1017"/>
                  <a:gd name="T7" fmla="*/ 200 h 808"/>
                  <a:gd name="T8" fmla="*/ 680 w 1017"/>
                  <a:gd name="T9" fmla="*/ 197 h 808"/>
                  <a:gd name="T10" fmla="*/ 635 w 1017"/>
                  <a:gd name="T11" fmla="*/ 197 h 808"/>
                  <a:gd name="T12" fmla="*/ 242 w 1017"/>
                  <a:gd name="T13" fmla="*/ 197 h 808"/>
                  <a:gd name="T14" fmla="*/ 242 w 1017"/>
                  <a:gd name="T15" fmla="*/ 406 h 808"/>
                  <a:gd name="T16" fmla="*/ 626 w 1017"/>
                  <a:gd name="T17" fmla="*/ 406 h 808"/>
                  <a:gd name="T18" fmla="*/ 697 w 1017"/>
                  <a:gd name="T19" fmla="*/ 403 h 808"/>
                  <a:gd name="T20" fmla="*/ 739 w 1017"/>
                  <a:gd name="T21" fmla="*/ 389 h 808"/>
                  <a:gd name="T22" fmla="*/ 759 w 1017"/>
                  <a:gd name="T23" fmla="*/ 364 h 808"/>
                  <a:gd name="T24" fmla="*/ 770 w 1017"/>
                  <a:gd name="T25" fmla="*/ 316 h 808"/>
                  <a:gd name="T26" fmla="*/ 764 w 1017"/>
                  <a:gd name="T27" fmla="*/ 254 h 808"/>
                  <a:gd name="T28" fmla="*/ 948 w 1017"/>
                  <a:gd name="T29" fmla="*/ 457 h 808"/>
                  <a:gd name="T30" fmla="*/ 925 w 1017"/>
                  <a:gd name="T31" fmla="*/ 471 h 808"/>
                  <a:gd name="T32" fmla="*/ 894 w 1017"/>
                  <a:gd name="T33" fmla="*/ 480 h 808"/>
                  <a:gd name="T34" fmla="*/ 852 w 1017"/>
                  <a:gd name="T35" fmla="*/ 488 h 808"/>
                  <a:gd name="T36" fmla="*/ 793 w 1017"/>
                  <a:gd name="T37" fmla="*/ 496 h 808"/>
                  <a:gd name="T38" fmla="*/ 832 w 1017"/>
                  <a:gd name="T39" fmla="*/ 499 h 808"/>
                  <a:gd name="T40" fmla="*/ 891 w 1017"/>
                  <a:gd name="T41" fmla="*/ 505 h 808"/>
                  <a:gd name="T42" fmla="*/ 934 w 1017"/>
                  <a:gd name="T43" fmla="*/ 513 h 808"/>
                  <a:gd name="T44" fmla="*/ 962 w 1017"/>
                  <a:gd name="T45" fmla="*/ 530 h 808"/>
                  <a:gd name="T46" fmla="*/ 982 w 1017"/>
                  <a:gd name="T47" fmla="*/ 556 h 808"/>
                  <a:gd name="T48" fmla="*/ 999 w 1017"/>
                  <a:gd name="T49" fmla="*/ 604 h 808"/>
                  <a:gd name="T50" fmla="*/ 1004 w 1017"/>
                  <a:gd name="T51" fmla="*/ 674 h 808"/>
                  <a:gd name="T52" fmla="*/ 1004 w 1017"/>
                  <a:gd name="T53" fmla="*/ 801 h 808"/>
                  <a:gd name="T54" fmla="*/ 756 w 1017"/>
                  <a:gd name="T55" fmla="*/ 801 h 808"/>
                  <a:gd name="T56" fmla="*/ 756 w 1017"/>
                  <a:gd name="T57" fmla="*/ 705 h 808"/>
                  <a:gd name="T58" fmla="*/ 747 w 1017"/>
                  <a:gd name="T59" fmla="*/ 652 h 808"/>
                  <a:gd name="T60" fmla="*/ 725 w 1017"/>
                  <a:gd name="T61" fmla="*/ 618 h 808"/>
                  <a:gd name="T62" fmla="*/ 691 w 1017"/>
                  <a:gd name="T63" fmla="*/ 607 h 808"/>
                  <a:gd name="T64" fmla="*/ 620 w 1017"/>
                  <a:gd name="T65" fmla="*/ 604 h 808"/>
                  <a:gd name="T66" fmla="*/ 245 w 1017"/>
                  <a:gd name="T67" fmla="*/ 604 h 808"/>
                  <a:gd name="T68" fmla="*/ 245 w 1017"/>
                  <a:gd name="T69" fmla="*/ 807 h 808"/>
                  <a:gd name="T70" fmla="*/ 0 w 1017"/>
                  <a:gd name="T71" fmla="*/ 807 h 808"/>
                  <a:gd name="T72" fmla="*/ 0 w 1017"/>
                  <a:gd name="T73" fmla="*/ 0 h 808"/>
                  <a:gd name="T74" fmla="*/ 694 w 1017"/>
                  <a:gd name="T75" fmla="*/ 0 h 808"/>
                  <a:gd name="T76" fmla="*/ 832 w 1017"/>
                  <a:gd name="T77" fmla="*/ 8 h 808"/>
                  <a:gd name="T78" fmla="*/ 917 w 1017"/>
                  <a:gd name="T79" fmla="*/ 34 h 808"/>
                  <a:gd name="T80" fmla="*/ 990 w 1017"/>
                  <a:gd name="T81" fmla="*/ 118 h 808"/>
                  <a:gd name="T82" fmla="*/ 1016 w 1017"/>
                  <a:gd name="T83" fmla="*/ 265 h 808"/>
                  <a:gd name="T84" fmla="*/ 948 w 1017"/>
                  <a:gd name="T85" fmla="*/ 457 h 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17" h="808">
                    <a:moveTo>
                      <a:pt x="764" y="254"/>
                    </a:moveTo>
                    <a:cubicBezTo>
                      <a:pt x="761" y="240"/>
                      <a:pt x="755" y="228"/>
                      <a:pt x="747" y="220"/>
                    </a:cubicBezTo>
                    <a:cubicBezTo>
                      <a:pt x="741" y="214"/>
                      <a:pt x="736" y="211"/>
                      <a:pt x="731" y="209"/>
                    </a:cubicBezTo>
                    <a:cubicBezTo>
                      <a:pt x="725" y="206"/>
                      <a:pt x="719" y="203"/>
                      <a:pt x="711" y="200"/>
                    </a:cubicBezTo>
                    <a:cubicBezTo>
                      <a:pt x="702" y="197"/>
                      <a:pt x="694" y="197"/>
                      <a:pt x="680" y="197"/>
                    </a:cubicBezTo>
                    <a:lnTo>
                      <a:pt x="635" y="197"/>
                    </a:lnTo>
                    <a:lnTo>
                      <a:pt x="242" y="197"/>
                    </a:lnTo>
                    <a:lnTo>
                      <a:pt x="242" y="406"/>
                    </a:lnTo>
                    <a:lnTo>
                      <a:pt x="626" y="406"/>
                    </a:lnTo>
                    <a:cubicBezTo>
                      <a:pt x="654" y="406"/>
                      <a:pt x="680" y="406"/>
                      <a:pt x="697" y="403"/>
                    </a:cubicBezTo>
                    <a:cubicBezTo>
                      <a:pt x="716" y="401"/>
                      <a:pt x="731" y="398"/>
                      <a:pt x="739" y="389"/>
                    </a:cubicBezTo>
                    <a:cubicBezTo>
                      <a:pt x="750" y="384"/>
                      <a:pt x="756" y="375"/>
                      <a:pt x="759" y="364"/>
                    </a:cubicBezTo>
                    <a:cubicBezTo>
                      <a:pt x="767" y="350"/>
                      <a:pt x="770" y="333"/>
                      <a:pt x="770" y="316"/>
                    </a:cubicBezTo>
                    <a:cubicBezTo>
                      <a:pt x="770" y="288"/>
                      <a:pt x="766" y="268"/>
                      <a:pt x="764" y="254"/>
                    </a:cubicBezTo>
                    <a:close/>
                    <a:moveTo>
                      <a:pt x="948" y="457"/>
                    </a:moveTo>
                    <a:cubicBezTo>
                      <a:pt x="939" y="463"/>
                      <a:pt x="933" y="468"/>
                      <a:pt x="925" y="471"/>
                    </a:cubicBezTo>
                    <a:cubicBezTo>
                      <a:pt x="916" y="474"/>
                      <a:pt x="908" y="477"/>
                      <a:pt x="894" y="480"/>
                    </a:cubicBezTo>
                    <a:cubicBezTo>
                      <a:pt x="883" y="482"/>
                      <a:pt x="869" y="485"/>
                      <a:pt x="852" y="488"/>
                    </a:cubicBezTo>
                    <a:cubicBezTo>
                      <a:pt x="835" y="491"/>
                      <a:pt x="815" y="494"/>
                      <a:pt x="793" y="496"/>
                    </a:cubicBezTo>
                    <a:lnTo>
                      <a:pt x="832" y="499"/>
                    </a:lnTo>
                    <a:cubicBezTo>
                      <a:pt x="855" y="502"/>
                      <a:pt x="874" y="502"/>
                      <a:pt x="891" y="505"/>
                    </a:cubicBezTo>
                    <a:cubicBezTo>
                      <a:pt x="908" y="508"/>
                      <a:pt x="922" y="511"/>
                      <a:pt x="934" y="513"/>
                    </a:cubicBezTo>
                    <a:cubicBezTo>
                      <a:pt x="945" y="516"/>
                      <a:pt x="953" y="522"/>
                      <a:pt x="962" y="530"/>
                    </a:cubicBezTo>
                    <a:cubicBezTo>
                      <a:pt x="970" y="536"/>
                      <a:pt x="976" y="544"/>
                      <a:pt x="982" y="556"/>
                    </a:cubicBezTo>
                    <a:cubicBezTo>
                      <a:pt x="990" y="570"/>
                      <a:pt x="996" y="587"/>
                      <a:pt x="999" y="604"/>
                    </a:cubicBezTo>
                    <a:cubicBezTo>
                      <a:pt x="1001" y="621"/>
                      <a:pt x="1004" y="643"/>
                      <a:pt x="1004" y="674"/>
                    </a:cubicBezTo>
                    <a:lnTo>
                      <a:pt x="1004" y="801"/>
                    </a:lnTo>
                    <a:lnTo>
                      <a:pt x="756" y="801"/>
                    </a:lnTo>
                    <a:lnTo>
                      <a:pt x="756" y="705"/>
                    </a:lnTo>
                    <a:cubicBezTo>
                      <a:pt x="756" y="683"/>
                      <a:pt x="753" y="663"/>
                      <a:pt x="747" y="652"/>
                    </a:cubicBezTo>
                    <a:cubicBezTo>
                      <a:pt x="745" y="638"/>
                      <a:pt x="736" y="626"/>
                      <a:pt x="725" y="618"/>
                    </a:cubicBezTo>
                    <a:cubicBezTo>
                      <a:pt x="716" y="612"/>
                      <a:pt x="702" y="607"/>
                      <a:pt x="691" y="607"/>
                    </a:cubicBezTo>
                    <a:cubicBezTo>
                      <a:pt x="677" y="604"/>
                      <a:pt x="654" y="604"/>
                      <a:pt x="620" y="604"/>
                    </a:cubicBezTo>
                    <a:lnTo>
                      <a:pt x="245" y="604"/>
                    </a:lnTo>
                    <a:lnTo>
                      <a:pt x="245" y="807"/>
                    </a:lnTo>
                    <a:lnTo>
                      <a:pt x="0" y="807"/>
                    </a:lnTo>
                    <a:lnTo>
                      <a:pt x="0" y="0"/>
                    </a:lnTo>
                    <a:lnTo>
                      <a:pt x="694" y="0"/>
                    </a:lnTo>
                    <a:cubicBezTo>
                      <a:pt x="753" y="0"/>
                      <a:pt x="801" y="3"/>
                      <a:pt x="832" y="8"/>
                    </a:cubicBezTo>
                    <a:cubicBezTo>
                      <a:pt x="866" y="14"/>
                      <a:pt x="894" y="22"/>
                      <a:pt x="917" y="34"/>
                    </a:cubicBezTo>
                    <a:cubicBezTo>
                      <a:pt x="951" y="51"/>
                      <a:pt x="976" y="79"/>
                      <a:pt x="990" y="118"/>
                    </a:cubicBezTo>
                    <a:cubicBezTo>
                      <a:pt x="1007" y="149"/>
                      <a:pt x="1016" y="200"/>
                      <a:pt x="1016" y="265"/>
                    </a:cubicBezTo>
                    <a:cubicBezTo>
                      <a:pt x="1016" y="361"/>
                      <a:pt x="993" y="426"/>
                      <a:pt x="948" y="457"/>
                    </a:cubicBezTo>
                    <a:close/>
                  </a:path>
                </a:pathLst>
              </a:custGeom>
              <a:solidFill>
                <a:srgbClr val="231E1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1" name="Freeform 80"/>
              <p:cNvSpPr>
                <a:spLocks noChangeArrowheads="1"/>
              </p:cNvSpPr>
              <p:nvPr/>
            </p:nvSpPr>
            <p:spPr bwMode="auto">
              <a:xfrm>
                <a:off x="2909888" y="4164013"/>
                <a:ext cx="300037" cy="292100"/>
              </a:xfrm>
              <a:custGeom>
                <a:avLst/>
                <a:gdLst>
                  <a:gd name="T0" fmla="*/ 832 w 833"/>
                  <a:gd name="T1" fmla="*/ 530 h 811"/>
                  <a:gd name="T2" fmla="*/ 827 w 833"/>
                  <a:gd name="T3" fmla="*/ 606 h 811"/>
                  <a:gd name="T4" fmla="*/ 813 w 833"/>
                  <a:gd name="T5" fmla="*/ 657 h 811"/>
                  <a:gd name="T6" fmla="*/ 790 w 833"/>
                  <a:gd name="T7" fmla="*/ 699 h 811"/>
                  <a:gd name="T8" fmla="*/ 711 w 833"/>
                  <a:gd name="T9" fmla="*/ 773 h 811"/>
                  <a:gd name="T10" fmla="*/ 584 w 833"/>
                  <a:gd name="T11" fmla="*/ 807 h 811"/>
                  <a:gd name="T12" fmla="*/ 559 w 833"/>
                  <a:gd name="T13" fmla="*/ 810 h 811"/>
                  <a:gd name="T14" fmla="*/ 522 w 833"/>
                  <a:gd name="T15" fmla="*/ 810 h 811"/>
                  <a:gd name="T16" fmla="*/ 468 w 833"/>
                  <a:gd name="T17" fmla="*/ 810 h 811"/>
                  <a:gd name="T18" fmla="*/ 395 w 833"/>
                  <a:gd name="T19" fmla="*/ 810 h 811"/>
                  <a:gd name="T20" fmla="*/ 279 w 833"/>
                  <a:gd name="T21" fmla="*/ 810 h 811"/>
                  <a:gd name="T22" fmla="*/ 200 w 833"/>
                  <a:gd name="T23" fmla="*/ 804 h 811"/>
                  <a:gd name="T24" fmla="*/ 147 w 833"/>
                  <a:gd name="T25" fmla="*/ 793 h 811"/>
                  <a:gd name="T26" fmla="*/ 104 w 833"/>
                  <a:gd name="T27" fmla="*/ 776 h 811"/>
                  <a:gd name="T28" fmla="*/ 25 w 833"/>
                  <a:gd name="T29" fmla="*/ 697 h 811"/>
                  <a:gd name="T30" fmla="*/ 0 w 833"/>
                  <a:gd name="T31" fmla="*/ 570 h 811"/>
                  <a:gd name="T32" fmla="*/ 0 w 833"/>
                  <a:gd name="T33" fmla="*/ 556 h 811"/>
                  <a:gd name="T34" fmla="*/ 0 w 833"/>
                  <a:gd name="T35" fmla="*/ 536 h 811"/>
                  <a:gd name="T36" fmla="*/ 0 w 833"/>
                  <a:gd name="T37" fmla="*/ 510 h 811"/>
                  <a:gd name="T38" fmla="*/ 0 w 833"/>
                  <a:gd name="T39" fmla="*/ 462 h 811"/>
                  <a:gd name="T40" fmla="*/ 234 w 833"/>
                  <a:gd name="T41" fmla="*/ 462 h 811"/>
                  <a:gd name="T42" fmla="*/ 234 w 833"/>
                  <a:gd name="T43" fmla="*/ 488 h 811"/>
                  <a:gd name="T44" fmla="*/ 237 w 833"/>
                  <a:gd name="T45" fmla="*/ 541 h 811"/>
                  <a:gd name="T46" fmla="*/ 245 w 833"/>
                  <a:gd name="T47" fmla="*/ 575 h 811"/>
                  <a:gd name="T48" fmla="*/ 262 w 833"/>
                  <a:gd name="T49" fmla="*/ 595 h 811"/>
                  <a:gd name="T50" fmla="*/ 290 w 833"/>
                  <a:gd name="T51" fmla="*/ 606 h 811"/>
                  <a:gd name="T52" fmla="*/ 417 w 833"/>
                  <a:gd name="T53" fmla="*/ 618 h 811"/>
                  <a:gd name="T54" fmla="*/ 505 w 833"/>
                  <a:gd name="T55" fmla="*/ 612 h 811"/>
                  <a:gd name="T56" fmla="*/ 556 w 833"/>
                  <a:gd name="T57" fmla="*/ 595 h 811"/>
                  <a:gd name="T58" fmla="*/ 573 w 833"/>
                  <a:gd name="T59" fmla="*/ 581 h 811"/>
                  <a:gd name="T60" fmla="*/ 581 w 833"/>
                  <a:gd name="T61" fmla="*/ 561 h 811"/>
                  <a:gd name="T62" fmla="*/ 587 w 833"/>
                  <a:gd name="T63" fmla="*/ 525 h 811"/>
                  <a:gd name="T64" fmla="*/ 587 w 833"/>
                  <a:gd name="T65" fmla="*/ 462 h 811"/>
                  <a:gd name="T66" fmla="*/ 587 w 833"/>
                  <a:gd name="T67" fmla="*/ 0 h 811"/>
                  <a:gd name="T68" fmla="*/ 832 w 833"/>
                  <a:gd name="T69" fmla="*/ 0 h 811"/>
                  <a:gd name="T70" fmla="*/ 832 w 833"/>
                  <a:gd name="T71" fmla="*/ 412 h 811"/>
                  <a:gd name="T72" fmla="*/ 832 w 833"/>
                  <a:gd name="T73" fmla="*/ 530 h 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33" h="811">
                    <a:moveTo>
                      <a:pt x="832" y="530"/>
                    </a:moveTo>
                    <a:cubicBezTo>
                      <a:pt x="832" y="561"/>
                      <a:pt x="829" y="586"/>
                      <a:pt x="827" y="606"/>
                    </a:cubicBezTo>
                    <a:cubicBezTo>
                      <a:pt x="824" y="625"/>
                      <a:pt x="818" y="643"/>
                      <a:pt x="813" y="657"/>
                    </a:cubicBezTo>
                    <a:cubicBezTo>
                      <a:pt x="807" y="671"/>
                      <a:pt x="801" y="683"/>
                      <a:pt x="790" y="699"/>
                    </a:cubicBezTo>
                    <a:cubicBezTo>
                      <a:pt x="770" y="731"/>
                      <a:pt x="745" y="756"/>
                      <a:pt x="711" y="773"/>
                    </a:cubicBezTo>
                    <a:cubicBezTo>
                      <a:pt x="680" y="790"/>
                      <a:pt x="638" y="801"/>
                      <a:pt x="584" y="807"/>
                    </a:cubicBezTo>
                    <a:cubicBezTo>
                      <a:pt x="575" y="807"/>
                      <a:pt x="567" y="810"/>
                      <a:pt x="559" y="810"/>
                    </a:cubicBezTo>
                    <a:lnTo>
                      <a:pt x="522" y="810"/>
                    </a:lnTo>
                    <a:lnTo>
                      <a:pt x="468" y="810"/>
                    </a:lnTo>
                    <a:lnTo>
                      <a:pt x="395" y="810"/>
                    </a:lnTo>
                    <a:lnTo>
                      <a:pt x="279" y="810"/>
                    </a:lnTo>
                    <a:cubicBezTo>
                      <a:pt x="248" y="810"/>
                      <a:pt x="223" y="807"/>
                      <a:pt x="200" y="804"/>
                    </a:cubicBezTo>
                    <a:cubicBezTo>
                      <a:pt x="180" y="801"/>
                      <a:pt x="161" y="795"/>
                      <a:pt x="147" y="793"/>
                    </a:cubicBezTo>
                    <a:lnTo>
                      <a:pt x="104" y="776"/>
                    </a:lnTo>
                    <a:cubicBezTo>
                      <a:pt x="68" y="756"/>
                      <a:pt x="42" y="731"/>
                      <a:pt x="25" y="697"/>
                    </a:cubicBezTo>
                    <a:cubicBezTo>
                      <a:pt x="8" y="663"/>
                      <a:pt x="0" y="620"/>
                      <a:pt x="0" y="570"/>
                    </a:cubicBezTo>
                    <a:lnTo>
                      <a:pt x="0" y="556"/>
                    </a:lnTo>
                    <a:lnTo>
                      <a:pt x="0" y="536"/>
                    </a:lnTo>
                    <a:lnTo>
                      <a:pt x="0" y="510"/>
                    </a:lnTo>
                    <a:lnTo>
                      <a:pt x="0" y="462"/>
                    </a:lnTo>
                    <a:lnTo>
                      <a:pt x="234" y="462"/>
                    </a:lnTo>
                    <a:lnTo>
                      <a:pt x="234" y="488"/>
                    </a:lnTo>
                    <a:cubicBezTo>
                      <a:pt x="234" y="508"/>
                      <a:pt x="234" y="526"/>
                      <a:pt x="237" y="541"/>
                    </a:cubicBezTo>
                    <a:cubicBezTo>
                      <a:pt x="240" y="555"/>
                      <a:pt x="242" y="567"/>
                      <a:pt x="245" y="575"/>
                    </a:cubicBezTo>
                    <a:cubicBezTo>
                      <a:pt x="248" y="584"/>
                      <a:pt x="254" y="589"/>
                      <a:pt x="262" y="595"/>
                    </a:cubicBezTo>
                    <a:cubicBezTo>
                      <a:pt x="271" y="601"/>
                      <a:pt x="279" y="604"/>
                      <a:pt x="290" y="606"/>
                    </a:cubicBezTo>
                    <a:cubicBezTo>
                      <a:pt x="316" y="615"/>
                      <a:pt x="358" y="618"/>
                      <a:pt x="417" y="618"/>
                    </a:cubicBezTo>
                    <a:cubicBezTo>
                      <a:pt x="454" y="618"/>
                      <a:pt x="482" y="615"/>
                      <a:pt x="505" y="612"/>
                    </a:cubicBezTo>
                    <a:cubicBezTo>
                      <a:pt x="528" y="609"/>
                      <a:pt x="544" y="604"/>
                      <a:pt x="556" y="595"/>
                    </a:cubicBezTo>
                    <a:cubicBezTo>
                      <a:pt x="564" y="589"/>
                      <a:pt x="570" y="587"/>
                      <a:pt x="573" y="581"/>
                    </a:cubicBezTo>
                    <a:cubicBezTo>
                      <a:pt x="575" y="575"/>
                      <a:pt x="578" y="570"/>
                      <a:pt x="581" y="561"/>
                    </a:cubicBezTo>
                    <a:cubicBezTo>
                      <a:pt x="584" y="553"/>
                      <a:pt x="584" y="539"/>
                      <a:pt x="587" y="525"/>
                    </a:cubicBezTo>
                    <a:lnTo>
                      <a:pt x="587" y="462"/>
                    </a:lnTo>
                    <a:lnTo>
                      <a:pt x="587" y="0"/>
                    </a:lnTo>
                    <a:lnTo>
                      <a:pt x="832" y="0"/>
                    </a:lnTo>
                    <a:lnTo>
                      <a:pt x="832" y="412"/>
                    </a:lnTo>
                    <a:lnTo>
                      <a:pt x="832" y="530"/>
                    </a:lnTo>
                  </a:path>
                </a:pathLst>
              </a:custGeom>
              <a:solidFill>
                <a:srgbClr val="231E1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2" name="Freeform 81"/>
              <p:cNvSpPr>
                <a:spLocks noChangeArrowheads="1"/>
              </p:cNvSpPr>
              <p:nvPr/>
            </p:nvSpPr>
            <p:spPr bwMode="auto">
              <a:xfrm>
                <a:off x="3289300" y="4073525"/>
                <a:ext cx="88900" cy="377825"/>
              </a:xfrm>
              <a:custGeom>
                <a:avLst/>
                <a:gdLst>
                  <a:gd name="T0" fmla="*/ 0 w 246"/>
                  <a:gd name="T1" fmla="*/ 243 h 1051"/>
                  <a:gd name="T2" fmla="*/ 245 w 246"/>
                  <a:gd name="T3" fmla="*/ 243 h 1051"/>
                  <a:gd name="T4" fmla="*/ 245 w 246"/>
                  <a:gd name="T5" fmla="*/ 1050 h 1051"/>
                  <a:gd name="T6" fmla="*/ 0 w 246"/>
                  <a:gd name="T7" fmla="*/ 1050 h 1051"/>
                  <a:gd name="T8" fmla="*/ 0 w 246"/>
                  <a:gd name="T9" fmla="*/ 243 h 1051"/>
                  <a:gd name="T10" fmla="*/ 36 w 246"/>
                  <a:gd name="T11" fmla="*/ 0 h 1051"/>
                  <a:gd name="T12" fmla="*/ 208 w 246"/>
                  <a:gd name="T13" fmla="*/ 0 h 1051"/>
                  <a:gd name="T14" fmla="*/ 208 w 246"/>
                  <a:gd name="T15" fmla="*/ 130 h 1051"/>
                  <a:gd name="T16" fmla="*/ 36 w 246"/>
                  <a:gd name="T17" fmla="*/ 130 h 1051"/>
                  <a:gd name="T18" fmla="*/ 36 w 246"/>
                  <a:gd name="T19" fmla="*/ 0 h 10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6" h="1051">
                    <a:moveTo>
                      <a:pt x="0" y="243"/>
                    </a:moveTo>
                    <a:lnTo>
                      <a:pt x="245" y="243"/>
                    </a:lnTo>
                    <a:lnTo>
                      <a:pt x="245" y="1050"/>
                    </a:lnTo>
                    <a:lnTo>
                      <a:pt x="0" y="1050"/>
                    </a:lnTo>
                    <a:lnTo>
                      <a:pt x="0" y="243"/>
                    </a:lnTo>
                    <a:close/>
                    <a:moveTo>
                      <a:pt x="36" y="0"/>
                    </a:moveTo>
                    <a:lnTo>
                      <a:pt x="208" y="0"/>
                    </a:lnTo>
                    <a:lnTo>
                      <a:pt x="208" y="130"/>
                    </a:lnTo>
                    <a:lnTo>
                      <a:pt x="36" y="13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231E1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75" name="Freeform 74"/>
            <p:cNvSpPr>
              <a:spLocks noChangeArrowheads="1"/>
            </p:cNvSpPr>
            <p:nvPr userDrawn="1"/>
          </p:nvSpPr>
          <p:spPr bwMode="auto">
            <a:xfrm>
              <a:off x="4641850" y="4095750"/>
              <a:ext cx="1457325" cy="355600"/>
            </a:xfrm>
            <a:custGeom>
              <a:avLst/>
              <a:gdLst>
                <a:gd name="T0" fmla="*/ 4047 w 4048"/>
                <a:gd name="T1" fmla="*/ 177 h 988"/>
                <a:gd name="T2" fmla="*/ 3604 w 4048"/>
                <a:gd name="T3" fmla="*/ 866 h 988"/>
                <a:gd name="T4" fmla="*/ 3161 w 4048"/>
                <a:gd name="T5" fmla="*/ 177 h 988"/>
                <a:gd name="T6" fmla="*/ 3251 w 4048"/>
                <a:gd name="T7" fmla="*/ 982 h 988"/>
                <a:gd name="T8" fmla="*/ 3254 w 4048"/>
                <a:gd name="T9" fmla="*/ 245 h 988"/>
                <a:gd name="T10" fmla="*/ 3649 w 4048"/>
                <a:gd name="T11" fmla="*/ 982 h 988"/>
                <a:gd name="T12" fmla="*/ 3957 w 4048"/>
                <a:gd name="T13" fmla="*/ 245 h 988"/>
                <a:gd name="T14" fmla="*/ 4047 w 4048"/>
                <a:gd name="T15" fmla="*/ 982 h 988"/>
                <a:gd name="T16" fmla="*/ 2997 w 4048"/>
                <a:gd name="T17" fmla="*/ 177 h 988"/>
                <a:gd name="T18" fmla="*/ 2907 w 4048"/>
                <a:gd name="T19" fmla="*/ 982 h 988"/>
                <a:gd name="T20" fmla="*/ 2907 w 4048"/>
                <a:gd name="T21" fmla="*/ 0 h 988"/>
                <a:gd name="T22" fmla="*/ 3000 w 4048"/>
                <a:gd name="T23" fmla="*/ 79 h 988"/>
                <a:gd name="T24" fmla="*/ 2907 w 4048"/>
                <a:gd name="T25" fmla="*/ 0 h 988"/>
                <a:gd name="T26" fmla="*/ 2786 w 4048"/>
                <a:gd name="T27" fmla="*/ 177 h 988"/>
                <a:gd name="T28" fmla="*/ 2173 w 4048"/>
                <a:gd name="T29" fmla="*/ 259 h 988"/>
                <a:gd name="T30" fmla="*/ 2433 w 4048"/>
                <a:gd name="T31" fmla="*/ 984 h 988"/>
                <a:gd name="T32" fmla="*/ 2523 w 4048"/>
                <a:gd name="T33" fmla="*/ 259 h 988"/>
                <a:gd name="T34" fmla="*/ 2069 w 4048"/>
                <a:gd name="T35" fmla="*/ 982 h 988"/>
                <a:gd name="T36" fmla="*/ 1643 w 4048"/>
                <a:gd name="T37" fmla="*/ 903 h 988"/>
                <a:gd name="T38" fmla="*/ 2049 w 4048"/>
                <a:gd name="T39" fmla="*/ 609 h 988"/>
                <a:gd name="T40" fmla="*/ 1643 w 4048"/>
                <a:gd name="T41" fmla="*/ 533 h 988"/>
                <a:gd name="T42" fmla="*/ 2069 w 4048"/>
                <a:gd name="T43" fmla="*/ 259 h 988"/>
                <a:gd name="T44" fmla="*/ 1553 w 4048"/>
                <a:gd name="T45" fmla="*/ 180 h 988"/>
                <a:gd name="T46" fmla="*/ 2069 w 4048"/>
                <a:gd name="T47" fmla="*/ 984 h 988"/>
                <a:gd name="T48" fmla="*/ 1324 w 4048"/>
                <a:gd name="T49" fmla="*/ 335 h 988"/>
                <a:gd name="T50" fmla="*/ 1256 w 4048"/>
                <a:gd name="T51" fmla="*/ 265 h 988"/>
                <a:gd name="T52" fmla="*/ 889 w 4048"/>
                <a:gd name="T53" fmla="*/ 256 h 988"/>
                <a:gd name="T54" fmla="*/ 1172 w 4048"/>
                <a:gd name="T55" fmla="*/ 581 h 988"/>
                <a:gd name="T56" fmla="*/ 1304 w 4048"/>
                <a:gd name="T57" fmla="*/ 541 h 988"/>
                <a:gd name="T58" fmla="*/ 1330 w 4048"/>
                <a:gd name="T59" fmla="*/ 400 h 988"/>
                <a:gd name="T60" fmla="*/ 1417 w 4048"/>
                <a:gd name="T61" fmla="*/ 488 h 988"/>
                <a:gd name="T62" fmla="*/ 1358 w 4048"/>
                <a:gd name="T63" fmla="*/ 598 h 988"/>
                <a:gd name="T64" fmla="*/ 1282 w 4048"/>
                <a:gd name="T65" fmla="*/ 626 h 988"/>
                <a:gd name="T66" fmla="*/ 1411 w 4048"/>
                <a:gd name="T67" fmla="*/ 770 h 988"/>
                <a:gd name="T68" fmla="*/ 1318 w 4048"/>
                <a:gd name="T69" fmla="*/ 984 h 988"/>
                <a:gd name="T70" fmla="*/ 1313 w 4048"/>
                <a:gd name="T71" fmla="*/ 747 h 988"/>
                <a:gd name="T72" fmla="*/ 1251 w 4048"/>
                <a:gd name="T73" fmla="*/ 671 h 988"/>
                <a:gd name="T74" fmla="*/ 889 w 4048"/>
                <a:gd name="T75" fmla="*/ 663 h 988"/>
                <a:gd name="T76" fmla="*/ 799 w 4048"/>
                <a:gd name="T77" fmla="*/ 984 h 988"/>
                <a:gd name="T78" fmla="*/ 1169 w 4048"/>
                <a:gd name="T79" fmla="*/ 180 h 988"/>
                <a:gd name="T80" fmla="*/ 1361 w 4048"/>
                <a:gd name="T81" fmla="*/ 228 h 988"/>
                <a:gd name="T82" fmla="*/ 1420 w 4048"/>
                <a:gd name="T83" fmla="*/ 409 h 988"/>
                <a:gd name="T84" fmla="*/ 379 w 4048"/>
                <a:gd name="T85" fmla="*/ 42 h 988"/>
                <a:gd name="T86" fmla="*/ 472 w 4048"/>
                <a:gd name="T87" fmla="*/ 121 h 988"/>
                <a:gd name="T88" fmla="*/ 379 w 4048"/>
                <a:gd name="T89" fmla="*/ 42 h 988"/>
                <a:gd name="T90" fmla="*/ 257 w 4048"/>
                <a:gd name="T91" fmla="*/ 42 h 988"/>
                <a:gd name="T92" fmla="*/ 164 w 4048"/>
                <a:gd name="T93" fmla="*/ 121 h 988"/>
                <a:gd name="T94" fmla="*/ 551 w 4048"/>
                <a:gd name="T95" fmla="*/ 953 h 988"/>
                <a:gd name="T96" fmla="*/ 319 w 4048"/>
                <a:gd name="T97" fmla="*/ 987 h 988"/>
                <a:gd name="T98" fmla="*/ 94 w 4048"/>
                <a:gd name="T99" fmla="*/ 956 h 988"/>
                <a:gd name="T100" fmla="*/ 0 w 4048"/>
                <a:gd name="T101" fmla="*/ 756 h 988"/>
                <a:gd name="T102" fmla="*/ 91 w 4048"/>
                <a:gd name="T103" fmla="*/ 177 h 988"/>
                <a:gd name="T104" fmla="*/ 99 w 4048"/>
                <a:gd name="T105" fmla="*/ 835 h 988"/>
                <a:gd name="T106" fmla="*/ 198 w 4048"/>
                <a:gd name="T107" fmla="*/ 903 h 988"/>
                <a:gd name="T108" fmla="*/ 421 w 4048"/>
                <a:gd name="T109" fmla="*/ 905 h 988"/>
                <a:gd name="T110" fmla="*/ 531 w 4048"/>
                <a:gd name="T111" fmla="*/ 843 h 988"/>
                <a:gd name="T112" fmla="*/ 545 w 4048"/>
                <a:gd name="T113" fmla="*/ 177 h 988"/>
                <a:gd name="T114" fmla="*/ 635 w 4048"/>
                <a:gd name="T115" fmla="*/ 756 h 988"/>
                <a:gd name="T116" fmla="*/ 551 w 4048"/>
                <a:gd name="T117" fmla="*/ 953 h 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048" h="988">
                  <a:moveTo>
                    <a:pt x="4047" y="982"/>
                  </a:moveTo>
                  <a:lnTo>
                    <a:pt x="4047" y="177"/>
                  </a:lnTo>
                  <a:lnTo>
                    <a:pt x="3889" y="177"/>
                  </a:lnTo>
                  <a:lnTo>
                    <a:pt x="3604" y="866"/>
                  </a:lnTo>
                  <a:lnTo>
                    <a:pt x="3319" y="177"/>
                  </a:lnTo>
                  <a:lnTo>
                    <a:pt x="3161" y="177"/>
                  </a:lnTo>
                  <a:lnTo>
                    <a:pt x="3161" y="982"/>
                  </a:lnTo>
                  <a:lnTo>
                    <a:pt x="3251" y="982"/>
                  </a:lnTo>
                  <a:lnTo>
                    <a:pt x="3251" y="245"/>
                  </a:lnTo>
                  <a:lnTo>
                    <a:pt x="3254" y="245"/>
                  </a:lnTo>
                  <a:lnTo>
                    <a:pt x="3559" y="982"/>
                  </a:lnTo>
                  <a:lnTo>
                    <a:pt x="3649" y="982"/>
                  </a:lnTo>
                  <a:lnTo>
                    <a:pt x="3954" y="245"/>
                  </a:lnTo>
                  <a:lnTo>
                    <a:pt x="3957" y="245"/>
                  </a:lnTo>
                  <a:lnTo>
                    <a:pt x="3957" y="982"/>
                  </a:lnTo>
                  <a:lnTo>
                    <a:pt x="4047" y="982"/>
                  </a:lnTo>
                  <a:close/>
                  <a:moveTo>
                    <a:pt x="2907" y="177"/>
                  </a:moveTo>
                  <a:lnTo>
                    <a:pt x="2997" y="177"/>
                  </a:lnTo>
                  <a:lnTo>
                    <a:pt x="2997" y="982"/>
                  </a:lnTo>
                  <a:lnTo>
                    <a:pt x="2907" y="982"/>
                  </a:lnTo>
                  <a:lnTo>
                    <a:pt x="2907" y="177"/>
                  </a:lnTo>
                  <a:close/>
                  <a:moveTo>
                    <a:pt x="2907" y="0"/>
                  </a:moveTo>
                  <a:lnTo>
                    <a:pt x="3000" y="0"/>
                  </a:lnTo>
                  <a:lnTo>
                    <a:pt x="3000" y="79"/>
                  </a:lnTo>
                  <a:lnTo>
                    <a:pt x="2907" y="79"/>
                  </a:lnTo>
                  <a:lnTo>
                    <a:pt x="2907" y="0"/>
                  </a:lnTo>
                  <a:close/>
                  <a:moveTo>
                    <a:pt x="2786" y="259"/>
                  </a:moveTo>
                  <a:lnTo>
                    <a:pt x="2786" y="177"/>
                  </a:lnTo>
                  <a:lnTo>
                    <a:pt x="2173" y="177"/>
                  </a:lnTo>
                  <a:lnTo>
                    <a:pt x="2173" y="259"/>
                  </a:lnTo>
                  <a:lnTo>
                    <a:pt x="2433" y="259"/>
                  </a:lnTo>
                  <a:lnTo>
                    <a:pt x="2433" y="984"/>
                  </a:lnTo>
                  <a:lnTo>
                    <a:pt x="2523" y="984"/>
                  </a:lnTo>
                  <a:lnTo>
                    <a:pt x="2523" y="259"/>
                  </a:lnTo>
                  <a:lnTo>
                    <a:pt x="2786" y="259"/>
                  </a:lnTo>
                  <a:close/>
                  <a:moveTo>
                    <a:pt x="2069" y="982"/>
                  </a:moveTo>
                  <a:lnTo>
                    <a:pt x="2069" y="903"/>
                  </a:lnTo>
                  <a:lnTo>
                    <a:pt x="1643" y="903"/>
                  </a:lnTo>
                  <a:lnTo>
                    <a:pt x="1643" y="609"/>
                  </a:lnTo>
                  <a:lnTo>
                    <a:pt x="2049" y="609"/>
                  </a:lnTo>
                  <a:lnTo>
                    <a:pt x="2049" y="533"/>
                  </a:lnTo>
                  <a:lnTo>
                    <a:pt x="1643" y="533"/>
                  </a:lnTo>
                  <a:lnTo>
                    <a:pt x="1643" y="259"/>
                  </a:lnTo>
                  <a:lnTo>
                    <a:pt x="2069" y="259"/>
                  </a:lnTo>
                  <a:lnTo>
                    <a:pt x="2069" y="180"/>
                  </a:lnTo>
                  <a:lnTo>
                    <a:pt x="1553" y="180"/>
                  </a:lnTo>
                  <a:lnTo>
                    <a:pt x="1553" y="984"/>
                  </a:lnTo>
                  <a:lnTo>
                    <a:pt x="2069" y="984"/>
                  </a:lnTo>
                  <a:lnTo>
                    <a:pt x="2069" y="982"/>
                  </a:lnTo>
                  <a:close/>
                  <a:moveTo>
                    <a:pt x="1324" y="335"/>
                  </a:moveTo>
                  <a:cubicBezTo>
                    <a:pt x="1321" y="318"/>
                    <a:pt x="1315" y="301"/>
                    <a:pt x="1304" y="290"/>
                  </a:cubicBezTo>
                  <a:cubicBezTo>
                    <a:pt x="1293" y="278"/>
                    <a:pt x="1279" y="270"/>
                    <a:pt x="1256" y="265"/>
                  </a:cubicBezTo>
                  <a:cubicBezTo>
                    <a:pt x="1234" y="259"/>
                    <a:pt x="1205" y="256"/>
                    <a:pt x="1172" y="256"/>
                  </a:cubicBezTo>
                  <a:lnTo>
                    <a:pt x="889" y="256"/>
                  </a:lnTo>
                  <a:lnTo>
                    <a:pt x="889" y="581"/>
                  </a:lnTo>
                  <a:lnTo>
                    <a:pt x="1172" y="581"/>
                  </a:lnTo>
                  <a:cubicBezTo>
                    <a:pt x="1205" y="581"/>
                    <a:pt x="1234" y="578"/>
                    <a:pt x="1256" y="572"/>
                  </a:cubicBezTo>
                  <a:cubicBezTo>
                    <a:pt x="1276" y="567"/>
                    <a:pt x="1293" y="555"/>
                    <a:pt x="1304" y="541"/>
                  </a:cubicBezTo>
                  <a:cubicBezTo>
                    <a:pt x="1315" y="527"/>
                    <a:pt x="1321" y="508"/>
                    <a:pt x="1327" y="485"/>
                  </a:cubicBezTo>
                  <a:cubicBezTo>
                    <a:pt x="1327" y="460"/>
                    <a:pt x="1330" y="434"/>
                    <a:pt x="1330" y="400"/>
                  </a:cubicBezTo>
                  <a:cubicBezTo>
                    <a:pt x="1330" y="375"/>
                    <a:pt x="1327" y="352"/>
                    <a:pt x="1324" y="335"/>
                  </a:cubicBezTo>
                  <a:close/>
                  <a:moveTo>
                    <a:pt x="1417" y="488"/>
                  </a:moveTo>
                  <a:cubicBezTo>
                    <a:pt x="1414" y="513"/>
                    <a:pt x="1409" y="533"/>
                    <a:pt x="1400" y="553"/>
                  </a:cubicBezTo>
                  <a:cubicBezTo>
                    <a:pt x="1392" y="572"/>
                    <a:pt x="1378" y="587"/>
                    <a:pt x="1358" y="598"/>
                  </a:cubicBezTo>
                  <a:cubicBezTo>
                    <a:pt x="1338" y="609"/>
                    <a:pt x="1313" y="618"/>
                    <a:pt x="1282" y="623"/>
                  </a:cubicBezTo>
                  <a:lnTo>
                    <a:pt x="1282" y="626"/>
                  </a:lnTo>
                  <a:cubicBezTo>
                    <a:pt x="1327" y="629"/>
                    <a:pt x="1361" y="642"/>
                    <a:pt x="1380" y="668"/>
                  </a:cubicBezTo>
                  <a:cubicBezTo>
                    <a:pt x="1400" y="693"/>
                    <a:pt x="1411" y="728"/>
                    <a:pt x="1411" y="770"/>
                  </a:cubicBezTo>
                  <a:lnTo>
                    <a:pt x="1411" y="984"/>
                  </a:lnTo>
                  <a:lnTo>
                    <a:pt x="1318" y="984"/>
                  </a:lnTo>
                  <a:lnTo>
                    <a:pt x="1318" y="815"/>
                  </a:lnTo>
                  <a:cubicBezTo>
                    <a:pt x="1318" y="790"/>
                    <a:pt x="1315" y="767"/>
                    <a:pt x="1313" y="747"/>
                  </a:cubicBezTo>
                  <a:cubicBezTo>
                    <a:pt x="1310" y="728"/>
                    <a:pt x="1301" y="714"/>
                    <a:pt x="1293" y="699"/>
                  </a:cubicBezTo>
                  <a:cubicBezTo>
                    <a:pt x="1282" y="688"/>
                    <a:pt x="1270" y="677"/>
                    <a:pt x="1251" y="671"/>
                  </a:cubicBezTo>
                  <a:cubicBezTo>
                    <a:pt x="1234" y="666"/>
                    <a:pt x="1211" y="663"/>
                    <a:pt x="1183" y="663"/>
                  </a:cubicBezTo>
                  <a:lnTo>
                    <a:pt x="889" y="663"/>
                  </a:lnTo>
                  <a:lnTo>
                    <a:pt x="889" y="984"/>
                  </a:lnTo>
                  <a:lnTo>
                    <a:pt x="799" y="984"/>
                  </a:lnTo>
                  <a:lnTo>
                    <a:pt x="799" y="180"/>
                  </a:lnTo>
                  <a:lnTo>
                    <a:pt x="1169" y="180"/>
                  </a:lnTo>
                  <a:cubicBezTo>
                    <a:pt x="1211" y="180"/>
                    <a:pt x="1251" y="183"/>
                    <a:pt x="1282" y="191"/>
                  </a:cubicBezTo>
                  <a:cubicBezTo>
                    <a:pt x="1313" y="197"/>
                    <a:pt x="1338" y="211"/>
                    <a:pt x="1361" y="228"/>
                  </a:cubicBezTo>
                  <a:cubicBezTo>
                    <a:pt x="1380" y="245"/>
                    <a:pt x="1397" y="270"/>
                    <a:pt x="1406" y="299"/>
                  </a:cubicBezTo>
                  <a:cubicBezTo>
                    <a:pt x="1414" y="327"/>
                    <a:pt x="1420" y="364"/>
                    <a:pt x="1420" y="409"/>
                  </a:cubicBezTo>
                  <a:cubicBezTo>
                    <a:pt x="1420" y="437"/>
                    <a:pt x="1420" y="462"/>
                    <a:pt x="1417" y="488"/>
                  </a:cubicBezTo>
                  <a:close/>
                  <a:moveTo>
                    <a:pt x="379" y="42"/>
                  </a:moveTo>
                  <a:lnTo>
                    <a:pt x="472" y="42"/>
                  </a:lnTo>
                  <a:lnTo>
                    <a:pt x="472" y="121"/>
                  </a:lnTo>
                  <a:lnTo>
                    <a:pt x="379" y="121"/>
                  </a:lnTo>
                  <a:lnTo>
                    <a:pt x="379" y="42"/>
                  </a:lnTo>
                  <a:close/>
                  <a:moveTo>
                    <a:pt x="164" y="42"/>
                  </a:moveTo>
                  <a:lnTo>
                    <a:pt x="257" y="42"/>
                  </a:lnTo>
                  <a:lnTo>
                    <a:pt x="257" y="121"/>
                  </a:lnTo>
                  <a:lnTo>
                    <a:pt x="164" y="121"/>
                  </a:lnTo>
                  <a:lnTo>
                    <a:pt x="164" y="42"/>
                  </a:lnTo>
                  <a:close/>
                  <a:moveTo>
                    <a:pt x="551" y="953"/>
                  </a:moveTo>
                  <a:cubicBezTo>
                    <a:pt x="523" y="967"/>
                    <a:pt x="489" y="979"/>
                    <a:pt x="449" y="982"/>
                  </a:cubicBezTo>
                  <a:cubicBezTo>
                    <a:pt x="410" y="984"/>
                    <a:pt x="367" y="987"/>
                    <a:pt x="319" y="987"/>
                  </a:cubicBezTo>
                  <a:cubicBezTo>
                    <a:pt x="277" y="987"/>
                    <a:pt x="235" y="984"/>
                    <a:pt x="195" y="982"/>
                  </a:cubicBezTo>
                  <a:cubicBezTo>
                    <a:pt x="156" y="979"/>
                    <a:pt x="123" y="970"/>
                    <a:pt x="94" y="956"/>
                  </a:cubicBezTo>
                  <a:cubicBezTo>
                    <a:pt x="66" y="942"/>
                    <a:pt x="43" y="920"/>
                    <a:pt x="26" y="888"/>
                  </a:cubicBezTo>
                  <a:cubicBezTo>
                    <a:pt x="9" y="857"/>
                    <a:pt x="0" y="812"/>
                    <a:pt x="0" y="756"/>
                  </a:cubicBezTo>
                  <a:lnTo>
                    <a:pt x="0" y="177"/>
                  </a:lnTo>
                  <a:lnTo>
                    <a:pt x="91" y="177"/>
                  </a:lnTo>
                  <a:lnTo>
                    <a:pt x="91" y="756"/>
                  </a:lnTo>
                  <a:cubicBezTo>
                    <a:pt x="91" y="790"/>
                    <a:pt x="94" y="815"/>
                    <a:pt x="99" y="835"/>
                  </a:cubicBezTo>
                  <a:cubicBezTo>
                    <a:pt x="105" y="855"/>
                    <a:pt x="116" y="869"/>
                    <a:pt x="130" y="880"/>
                  </a:cubicBezTo>
                  <a:cubicBezTo>
                    <a:pt x="147" y="891"/>
                    <a:pt x="170" y="897"/>
                    <a:pt x="198" y="903"/>
                  </a:cubicBezTo>
                  <a:cubicBezTo>
                    <a:pt x="226" y="905"/>
                    <a:pt x="269" y="908"/>
                    <a:pt x="317" y="908"/>
                  </a:cubicBezTo>
                  <a:cubicBezTo>
                    <a:pt x="356" y="908"/>
                    <a:pt x="393" y="907"/>
                    <a:pt x="421" y="905"/>
                  </a:cubicBezTo>
                  <a:cubicBezTo>
                    <a:pt x="449" y="902"/>
                    <a:pt x="472" y="897"/>
                    <a:pt x="491" y="888"/>
                  </a:cubicBezTo>
                  <a:cubicBezTo>
                    <a:pt x="508" y="880"/>
                    <a:pt x="523" y="863"/>
                    <a:pt x="531" y="843"/>
                  </a:cubicBezTo>
                  <a:cubicBezTo>
                    <a:pt x="539" y="824"/>
                    <a:pt x="545" y="793"/>
                    <a:pt x="545" y="756"/>
                  </a:cubicBezTo>
                  <a:lnTo>
                    <a:pt x="545" y="177"/>
                  </a:lnTo>
                  <a:lnTo>
                    <a:pt x="635" y="177"/>
                  </a:lnTo>
                  <a:lnTo>
                    <a:pt x="635" y="756"/>
                  </a:lnTo>
                  <a:cubicBezTo>
                    <a:pt x="638" y="809"/>
                    <a:pt x="630" y="852"/>
                    <a:pt x="616" y="883"/>
                  </a:cubicBezTo>
                  <a:cubicBezTo>
                    <a:pt x="602" y="914"/>
                    <a:pt x="579" y="936"/>
                    <a:pt x="551" y="953"/>
                  </a:cubicBezTo>
                  <a:close/>
                </a:path>
              </a:pathLst>
            </a:custGeom>
            <a:solidFill>
              <a:srgbClr val="2A252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2" name="fr" descr="Hizmete Özel"/>
          <p:cNvSpPr txBox="1"/>
          <p:nvPr userDrawn="1"/>
        </p:nvSpPr>
        <p:spPr>
          <a:xfrm>
            <a:off x="0" y="6537960"/>
            <a:ext cx="12192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r"/>
            <a:r>
              <a:rPr lang="tr-TR" sz="850" b="0" i="0" u="none" baseline="0">
                <a:solidFill>
                  <a:srgbClr val="000000"/>
                </a:solidFill>
                <a:latin typeface="Microsoft Sans Serif" panose="020B0604020202020204" pitchFamily="34" charset="0"/>
              </a:rPr>
              <a:t>Hizmete Özel</a:t>
            </a:r>
          </a:p>
        </p:txBody>
      </p:sp>
      <p:sp>
        <p:nvSpPr>
          <p:cNvPr id="5" name="MSIPCMContentMarking" descr="{&quot;HashCode&quot;:2564527,&quot;Placement&quot;:&quot;Footer&quot;,&quot;Top&quot;:522.0343,&quot;Left&quot;:803.492737,&quot;SlideWidth&quot;:960,&quot;SlideHeight&quot;:540}">
            <a:extLst>
              <a:ext uri="{FF2B5EF4-FFF2-40B4-BE49-F238E27FC236}">
                <a16:creationId xmlns="" xmlns:a16="http://schemas.microsoft.com/office/drawing/2014/main" id="{E8B05F96-5562-4338-8368-0C9052B1BE9A}"/>
              </a:ext>
            </a:extLst>
          </p:cNvPr>
          <p:cNvSpPr txBox="1"/>
          <p:nvPr userDrawn="1"/>
        </p:nvSpPr>
        <p:spPr>
          <a:xfrm>
            <a:off x="10204358" y="6629836"/>
            <a:ext cx="1987642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/>
                </a:solidFill>
                <a:latin typeface="Calibri" panose="020F0502020204030204" pitchFamily="34" charset="0"/>
              </a:rPr>
              <a:t>Bu doküman Genel olarak işaretlenmiştir.</a:t>
            </a:r>
          </a:p>
        </p:txBody>
      </p:sp>
    </p:spTree>
    <p:extLst>
      <p:ext uri="{BB962C8B-B14F-4D97-AF65-F5344CB8AC3E}">
        <p14:creationId xmlns:p14="http://schemas.microsoft.com/office/powerpoint/2010/main" val="45963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51" r:id="rId2"/>
    <p:sldLayoutId id="2147483656" r:id="rId3"/>
    <p:sldLayoutId id="2147483657" r:id="rId4"/>
    <p:sldLayoutId id="2147483658" r:id="rId5"/>
    <p:sldLayoutId id="2147483652" r:id="rId6"/>
    <p:sldLayoutId id="2147483671" r:id="rId7"/>
    <p:sldLayoutId id="2147483672" r:id="rId8"/>
  </p:sldLayoutIdLst>
  <p:hf hdr="0" ftr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4400" b="1" kern="1200" baseline="0" dirty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yes.enerjisauretim.com/Login.aspx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3">
            <a:extLst>
              <a:ext uri="{FF2B5EF4-FFF2-40B4-BE49-F238E27FC236}">
                <a16:creationId xmlns="" xmlns:a16="http://schemas.microsoft.com/office/drawing/2014/main" id="{8384E16E-EB5F-445F-AE48-85163C6BCC26}"/>
              </a:ext>
            </a:extLst>
          </p:cNvPr>
          <p:cNvSpPr txBox="1">
            <a:spLocks/>
          </p:cNvSpPr>
          <p:nvPr/>
        </p:nvSpPr>
        <p:spPr>
          <a:xfrm>
            <a:off x="2039215" y="1403163"/>
            <a:ext cx="8113568" cy="280076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800" b="1" kern="1200" baseline="0">
                <a:solidFill>
                  <a:schemeClr val="bg1"/>
                </a:solidFill>
                <a:latin typeface="+mn-lt"/>
                <a:ea typeface="Verdana" charset="0"/>
                <a:cs typeface="Verdana" charset="0"/>
              </a:defRPr>
            </a:lvl1pPr>
          </a:lstStyle>
          <a:p>
            <a:r>
              <a:rPr lang="tr-TR" dirty="0"/>
              <a:t> (YES)</a:t>
            </a:r>
          </a:p>
          <a:p>
            <a:r>
              <a:rPr lang="tr-TR" dirty="0"/>
              <a:t>YÜKLENİCİ ENTEGRE SİSTEMİ </a:t>
            </a:r>
          </a:p>
          <a:p>
            <a:r>
              <a:rPr lang="tr-TR" dirty="0"/>
              <a:t>KULLANIM KILAVUZU</a:t>
            </a:r>
            <a:br>
              <a:rPr lang="tr-TR" dirty="0"/>
            </a:br>
            <a:endParaRPr lang="tr-TR" sz="2400" dirty="0"/>
          </a:p>
        </p:txBody>
      </p:sp>
    </p:spTree>
    <p:extLst>
      <p:ext uri="{BB962C8B-B14F-4D97-AF65-F5344CB8AC3E}">
        <p14:creationId xmlns:p14="http://schemas.microsoft.com/office/powerpoint/2010/main" val="70854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10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8" y="312738"/>
            <a:ext cx="11442700" cy="461665"/>
          </a:xfrm>
        </p:spPr>
        <p:txBody>
          <a:bodyPr/>
          <a:lstStyle/>
          <a:p>
            <a:r>
              <a:rPr lang="tr-TR" sz="2400" dirty="0"/>
              <a:t>YES-YÜKLENİCİ ENTEGRE SİSTEMİ - </a:t>
            </a:r>
            <a:r>
              <a:rPr lang="tr-TR" sz="2400" dirty="0" err="1"/>
              <a:t>Anasayfa</a:t>
            </a:r>
            <a:endParaRPr lang="tr-TR" sz="2400" dirty="0"/>
          </a:p>
        </p:txBody>
      </p:sp>
      <p:sp>
        <p:nvSpPr>
          <p:cNvPr id="9" name="Metin kutusu 8">
            <a:extLst>
              <a:ext uri="{FF2B5EF4-FFF2-40B4-BE49-F238E27FC236}">
                <a16:creationId xmlns="" xmlns:a16="http://schemas.microsoft.com/office/drawing/2014/main" id="{B7A260CB-7308-48EA-B37B-A7A728460759}"/>
              </a:ext>
            </a:extLst>
          </p:cNvPr>
          <p:cNvSpPr txBox="1"/>
          <p:nvPr/>
        </p:nvSpPr>
        <p:spPr>
          <a:xfrm>
            <a:off x="417512" y="1411353"/>
            <a:ext cx="3733864" cy="21137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dirty="0"/>
              <a:t>Sisteme şifreniz ile giriş yaptığınızda karşınıza yandaki gibi bir ekran açılacaktır. Açılan ekranda </a:t>
            </a:r>
            <a:r>
              <a:rPr lang="tr-TR" b="1" dirty="0"/>
              <a:t>«Bildirimler» </a:t>
            </a:r>
            <a:r>
              <a:rPr lang="tr-TR" dirty="0"/>
              <a:t>sekmesine tıklayınız.</a:t>
            </a:r>
          </a:p>
        </p:txBody>
      </p:sp>
      <p:pic>
        <p:nvPicPr>
          <p:cNvPr id="4" name="Resim 3">
            <a:extLst>
              <a:ext uri="{FF2B5EF4-FFF2-40B4-BE49-F238E27FC236}">
                <a16:creationId xmlns="" xmlns:a16="http://schemas.microsoft.com/office/drawing/2014/main" id="{527A330B-A0B2-4AE6-B78A-B10F513E6E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5695" y="1411353"/>
            <a:ext cx="7443234" cy="3758674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="" xmlns:a16="http://schemas.microsoft.com/office/drawing/2014/main" id="{DABD5459-185D-44C5-9DA8-50687C797E94}"/>
              </a:ext>
            </a:extLst>
          </p:cNvPr>
          <p:cNvSpPr/>
          <p:nvPr/>
        </p:nvSpPr>
        <p:spPr>
          <a:xfrm>
            <a:off x="6181344" y="1687973"/>
            <a:ext cx="987552" cy="558353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/>
          </a:p>
        </p:txBody>
      </p:sp>
    </p:spTree>
    <p:extLst>
      <p:ext uri="{BB962C8B-B14F-4D97-AF65-F5344CB8AC3E}">
        <p14:creationId xmlns:p14="http://schemas.microsoft.com/office/powerpoint/2010/main" val="34604875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11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3674" y="312738"/>
            <a:ext cx="11442700" cy="959237"/>
          </a:xfrm>
        </p:spPr>
        <p:txBody>
          <a:bodyPr/>
          <a:lstStyle/>
          <a:p>
            <a:r>
              <a:rPr lang="tr-TR" sz="2400" dirty="0"/>
              <a:t>YES-YÜKLENİCİ ENTEGRE SİSTEMİ - Bildirimler</a:t>
            </a:r>
          </a:p>
          <a:p>
            <a:endParaRPr lang="tr-TR" sz="2400" dirty="0"/>
          </a:p>
        </p:txBody>
      </p:sp>
      <p:sp>
        <p:nvSpPr>
          <p:cNvPr id="9" name="Metin kutusu 8">
            <a:extLst>
              <a:ext uri="{FF2B5EF4-FFF2-40B4-BE49-F238E27FC236}">
                <a16:creationId xmlns="" xmlns:a16="http://schemas.microsoft.com/office/drawing/2014/main" id="{B7A260CB-7308-48EA-B37B-A7A728460759}"/>
              </a:ext>
            </a:extLst>
          </p:cNvPr>
          <p:cNvSpPr txBox="1"/>
          <p:nvPr/>
        </p:nvSpPr>
        <p:spPr>
          <a:xfrm>
            <a:off x="190816" y="5115054"/>
            <a:ext cx="11464585" cy="867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b="1" dirty="0"/>
              <a:t>«Bildirimler» </a:t>
            </a:r>
            <a:r>
              <a:rPr lang="tr-TR" dirty="0"/>
              <a:t>sekmesinin altında </a:t>
            </a:r>
            <a:r>
              <a:rPr lang="tr-TR" b="1" dirty="0"/>
              <a:t>«Bekleyen Atamalar» </a:t>
            </a:r>
            <a:r>
              <a:rPr lang="tr-TR" dirty="0"/>
              <a:t>ve </a:t>
            </a:r>
            <a:r>
              <a:rPr lang="tr-TR" b="1" dirty="0"/>
              <a:t>«Yüklenici Yönetimi» </a:t>
            </a:r>
            <a:r>
              <a:rPr lang="tr-TR" dirty="0"/>
              <a:t>adında iki ayrı sekme açılacaktır.</a:t>
            </a:r>
          </a:p>
        </p:txBody>
      </p:sp>
      <p:pic>
        <p:nvPicPr>
          <p:cNvPr id="3" name="Resim 2">
            <a:extLst>
              <a:ext uri="{FF2B5EF4-FFF2-40B4-BE49-F238E27FC236}">
                <a16:creationId xmlns="" xmlns:a16="http://schemas.microsoft.com/office/drawing/2014/main" id="{426FD81D-2B34-40B4-A1C1-78E26212EF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8221" y="1062475"/>
            <a:ext cx="8995899" cy="3648743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="" xmlns:a16="http://schemas.microsoft.com/office/drawing/2014/main" id="{7001D488-4F8E-4008-BB8F-8FC7570711B0}"/>
              </a:ext>
            </a:extLst>
          </p:cNvPr>
          <p:cNvSpPr/>
          <p:nvPr/>
        </p:nvSpPr>
        <p:spPr>
          <a:xfrm>
            <a:off x="5363635" y="1675811"/>
            <a:ext cx="1810512" cy="671179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/>
          </a:p>
        </p:txBody>
      </p:sp>
      <p:sp>
        <p:nvSpPr>
          <p:cNvPr id="13" name="Oval 12">
            <a:extLst>
              <a:ext uri="{FF2B5EF4-FFF2-40B4-BE49-F238E27FC236}">
                <a16:creationId xmlns="" xmlns:a16="http://schemas.microsoft.com/office/drawing/2014/main" id="{51F14F05-A74B-4133-8711-C457FA3298CA}"/>
              </a:ext>
            </a:extLst>
          </p:cNvPr>
          <p:cNvSpPr/>
          <p:nvPr/>
        </p:nvSpPr>
        <p:spPr>
          <a:xfrm>
            <a:off x="992504" y="1669125"/>
            <a:ext cx="2034160" cy="671179"/>
          </a:xfrm>
          <a:prstGeom prst="ellipse">
            <a:avLst/>
          </a:prstGeom>
          <a:noFill/>
          <a:ln w="1905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49974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12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7" y="312738"/>
            <a:ext cx="11768063" cy="461665"/>
          </a:xfrm>
        </p:spPr>
        <p:txBody>
          <a:bodyPr/>
          <a:lstStyle/>
          <a:p>
            <a:r>
              <a:rPr lang="tr-TR" sz="2400" dirty="0"/>
              <a:t>YES-YÜKLENİCİ ENTEGRE SİSTEMİ – Personel Sayısı Tanımlama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="" xmlns:a16="http://schemas.microsoft.com/office/drawing/2014/main" id="{B7A260CB-7308-48EA-B37B-A7A728460759}"/>
              </a:ext>
            </a:extLst>
          </p:cNvPr>
          <p:cNvSpPr txBox="1"/>
          <p:nvPr/>
        </p:nvSpPr>
        <p:spPr>
          <a:xfrm>
            <a:off x="331787" y="1152441"/>
            <a:ext cx="4413949" cy="3775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b="1" dirty="0"/>
              <a:t>«Bekleyen Atamalar» </a:t>
            </a:r>
            <a:r>
              <a:rPr lang="tr-TR" dirty="0"/>
              <a:t>sekmesinin altında bulunan,</a:t>
            </a:r>
          </a:p>
          <a:p>
            <a:pPr algn="just">
              <a:lnSpc>
                <a:spcPct val="150000"/>
              </a:lnSpc>
            </a:pPr>
            <a:r>
              <a:rPr lang="tr-TR" dirty="0"/>
              <a:t> </a:t>
            </a:r>
            <a:r>
              <a:rPr lang="tr-TR" b="1" dirty="0"/>
              <a:t>«Personel Sayısı Belirtilmemiş Projeler» </a:t>
            </a:r>
            <a:r>
              <a:rPr lang="tr-TR" dirty="0"/>
              <a:t>sekmesine tıkladığınızda yandaki ekran açılacaktır. Yandaki ekranda firmanıza açılmış projeler listelenmektedir. İlgili proje sekmesinde bulunan       işaretine tıklayınız.</a:t>
            </a:r>
            <a:endParaRPr lang="tr-TR" b="1" dirty="0"/>
          </a:p>
        </p:txBody>
      </p:sp>
      <p:pic>
        <p:nvPicPr>
          <p:cNvPr id="8" name="Resim 7">
            <a:extLst>
              <a:ext uri="{FF2B5EF4-FFF2-40B4-BE49-F238E27FC236}">
                <a16:creationId xmlns="" xmlns:a16="http://schemas.microsoft.com/office/drawing/2014/main" id="{957AD999-71A7-43C4-B494-1F60E2A474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0385" y="4099908"/>
            <a:ext cx="361950" cy="428625"/>
          </a:xfrm>
          <a:prstGeom prst="rect">
            <a:avLst/>
          </a:prstGeom>
        </p:spPr>
      </p:pic>
      <p:pic>
        <p:nvPicPr>
          <p:cNvPr id="14" name="Resim 13">
            <a:extLst>
              <a:ext uri="{FF2B5EF4-FFF2-40B4-BE49-F238E27FC236}">
                <a16:creationId xmlns="" xmlns:a16="http://schemas.microsoft.com/office/drawing/2014/main" id="{D31A3807-5942-4948-BA2F-D014CC066F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5424" y="1288603"/>
            <a:ext cx="6684789" cy="3549015"/>
          </a:xfrm>
          <a:prstGeom prst="rect">
            <a:avLst/>
          </a:prstGeom>
        </p:spPr>
      </p:pic>
      <p:sp>
        <p:nvSpPr>
          <p:cNvPr id="16" name="Oval 15">
            <a:extLst>
              <a:ext uri="{FF2B5EF4-FFF2-40B4-BE49-F238E27FC236}">
                <a16:creationId xmlns="" xmlns:a16="http://schemas.microsoft.com/office/drawing/2014/main" id="{8706B093-F7E9-4ACB-A476-50BC2746E5C2}"/>
              </a:ext>
            </a:extLst>
          </p:cNvPr>
          <p:cNvSpPr/>
          <p:nvPr/>
        </p:nvSpPr>
        <p:spPr>
          <a:xfrm>
            <a:off x="5310562" y="3328416"/>
            <a:ext cx="6549651" cy="493776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/>
          </a:p>
        </p:txBody>
      </p:sp>
    </p:spTree>
    <p:extLst>
      <p:ext uri="{BB962C8B-B14F-4D97-AF65-F5344CB8AC3E}">
        <p14:creationId xmlns:p14="http://schemas.microsoft.com/office/powerpoint/2010/main" val="15964753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13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8" y="312738"/>
            <a:ext cx="11442700" cy="461665"/>
          </a:xfrm>
        </p:spPr>
        <p:txBody>
          <a:bodyPr/>
          <a:lstStyle/>
          <a:p>
            <a:r>
              <a:rPr lang="tr-TR" sz="2400" dirty="0"/>
              <a:t>YES-YÜKLENİCİ ENTEGRE SİSTEMİ – Personel Sayısı Tanımlama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="" xmlns:a16="http://schemas.microsoft.com/office/drawing/2014/main" id="{B7A260CB-7308-48EA-B37B-A7A728460759}"/>
              </a:ext>
            </a:extLst>
          </p:cNvPr>
          <p:cNvSpPr txBox="1"/>
          <p:nvPr/>
        </p:nvSpPr>
        <p:spPr>
          <a:xfrm>
            <a:off x="384695" y="4646778"/>
            <a:ext cx="11345457" cy="867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b="1" dirty="0"/>
              <a:t>     </a:t>
            </a:r>
            <a:r>
              <a:rPr lang="tr-TR" dirty="0"/>
              <a:t>işaretine tıkladığınızda yukarıdaki ekran açılacaktır. Bu bölümde ilgili projede çalışacak toplam personel sayısını giriniz ve </a:t>
            </a:r>
            <a:r>
              <a:rPr lang="tr-TR" b="1" dirty="0"/>
              <a:t>«Kaydet» </a:t>
            </a:r>
            <a:r>
              <a:rPr lang="tr-TR" dirty="0"/>
              <a:t>sekmesine tıklayınız.</a:t>
            </a:r>
            <a:endParaRPr lang="tr-TR" b="1" dirty="0"/>
          </a:p>
        </p:txBody>
      </p:sp>
      <p:pic>
        <p:nvPicPr>
          <p:cNvPr id="8" name="Resim 7">
            <a:extLst>
              <a:ext uri="{FF2B5EF4-FFF2-40B4-BE49-F238E27FC236}">
                <a16:creationId xmlns="" xmlns:a16="http://schemas.microsoft.com/office/drawing/2014/main" id="{4DA59C4C-2077-44CA-B5F4-7D2F088FD9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4695" y="4646778"/>
            <a:ext cx="361950" cy="428625"/>
          </a:xfrm>
          <a:prstGeom prst="rect">
            <a:avLst/>
          </a:prstGeom>
        </p:spPr>
      </p:pic>
      <p:pic>
        <p:nvPicPr>
          <p:cNvPr id="13" name="Resim 12">
            <a:extLst>
              <a:ext uri="{FF2B5EF4-FFF2-40B4-BE49-F238E27FC236}">
                <a16:creationId xmlns="" xmlns:a16="http://schemas.microsoft.com/office/drawing/2014/main" id="{DC6E2500-568A-4B71-B74A-9AA82E8B12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3949" y="880682"/>
            <a:ext cx="7754684" cy="3521952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="" xmlns:a16="http://schemas.microsoft.com/office/drawing/2014/main" id="{02676CA2-A94C-4F44-8E6A-370700D9ADAD}"/>
              </a:ext>
            </a:extLst>
          </p:cNvPr>
          <p:cNvSpPr/>
          <p:nvPr/>
        </p:nvSpPr>
        <p:spPr>
          <a:xfrm>
            <a:off x="1873949" y="3093410"/>
            <a:ext cx="2405443" cy="564189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/>
          </a:p>
        </p:txBody>
      </p:sp>
      <p:sp>
        <p:nvSpPr>
          <p:cNvPr id="18" name="Oval 17">
            <a:extLst>
              <a:ext uri="{FF2B5EF4-FFF2-40B4-BE49-F238E27FC236}">
                <a16:creationId xmlns="" xmlns:a16="http://schemas.microsoft.com/office/drawing/2014/main" id="{89E02624-85F7-4DCB-8353-C08E702C247E}"/>
              </a:ext>
            </a:extLst>
          </p:cNvPr>
          <p:cNvSpPr/>
          <p:nvPr/>
        </p:nvSpPr>
        <p:spPr>
          <a:xfrm>
            <a:off x="4922235" y="3678003"/>
            <a:ext cx="799421" cy="656253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/>
          </a:p>
        </p:txBody>
      </p:sp>
    </p:spTree>
    <p:extLst>
      <p:ext uri="{BB962C8B-B14F-4D97-AF65-F5344CB8AC3E}">
        <p14:creationId xmlns:p14="http://schemas.microsoft.com/office/powerpoint/2010/main" val="13963636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14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8" y="312738"/>
            <a:ext cx="11442700" cy="461665"/>
          </a:xfrm>
        </p:spPr>
        <p:txBody>
          <a:bodyPr/>
          <a:lstStyle/>
          <a:p>
            <a:r>
              <a:rPr lang="tr-TR" sz="2400" dirty="0"/>
              <a:t>YES-YÜKLENİCİ ENTEGRE SİSTEMİ - Tanımlar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="" xmlns:a16="http://schemas.microsoft.com/office/drawing/2014/main" id="{B7A260CB-7308-48EA-B37B-A7A728460759}"/>
              </a:ext>
            </a:extLst>
          </p:cNvPr>
          <p:cNvSpPr txBox="1"/>
          <p:nvPr/>
        </p:nvSpPr>
        <p:spPr>
          <a:xfrm>
            <a:off x="384695" y="4646778"/>
            <a:ext cx="11345457" cy="867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dirty="0"/>
              <a:t>Personel sayısının kaydını yaptığınızda karşınıza yukarıdaki ekran çıkacaktır. Bu ekranda </a:t>
            </a:r>
            <a:r>
              <a:rPr lang="tr-TR" b="1" dirty="0"/>
              <a:t>«Tanımlar» </a:t>
            </a:r>
            <a:r>
              <a:rPr lang="tr-TR" dirty="0"/>
              <a:t>sekmesini tıklayınız.</a:t>
            </a:r>
          </a:p>
        </p:txBody>
      </p:sp>
      <p:pic>
        <p:nvPicPr>
          <p:cNvPr id="3" name="Resim 2">
            <a:extLst>
              <a:ext uri="{FF2B5EF4-FFF2-40B4-BE49-F238E27FC236}">
                <a16:creationId xmlns="" xmlns:a16="http://schemas.microsoft.com/office/drawing/2014/main" id="{18E53558-6AFA-45DC-9403-78EE75EA25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1788" y="1098242"/>
            <a:ext cx="11055096" cy="2923993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="" xmlns:a16="http://schemas.microsoft.com/office/drawing/2014/main" id="{1E72E04F-B1A2-4F54-813F-88992DFAF48B}"/>
              </a:ext>
            </a:extLst>
          </p:cNvPr>
          <p:cNvSpPr/>
          <p:nvPr/>
        </p:nvSpPr>
        <p:spPr>
          <a:xfrm>
            <a:off x="331788" y="3602550"/>
            <a:ext cx="799421" cy="265362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/>
          </a:p>
        </p:txBody>
      </p:sp>
    </p:spTree>
    <p:extLst>
      <p:ext uri="{BB962C8B-B14F-4D97-AF65-F5344CB8AC3E}">
        <p14:creationId xmlns:p14="http://schemas.microsoft.com/office/powerpoint/2010/main" val="35276626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15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8" y="312738"/>
            <a:ext cx="11442700" cy="461665"/>
          </a:xfrm>
        </p:spPr>
        <p:txBody>
          <a:bodyPr/>
          <a:lstStyle/>
          <a:p>
            <a:r>
              <a:rPr lang="tr-TR" sz="2400" dirty="0"/>
              <a:t>YES-YÜKLENİCİ ENTEGRE SİSTEMİ – Personel Tanımlamaları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="" xmlns:a16="http://schemas.microsoft.com/office/drawing/2014/main" id="{B7A260CB-7308-48EA-B37B-A7A728460759}"/>
              </a:ext>
            </a:extLst>
          </p:cNvPr>
          <p:cNvSpPr txBox="1"/>
          <p:nvPr/>
        </p:nvSpPr>
        <p:spPr>
          <a:xfrm>
            <a:off x="331788" y="4344748"/>
            <a:ext cx="11495607" cy="867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b="1" dirty="0"/>
              <a:t>«Tanımlar» </a:t>
            </a:r>
            <a:r>
              <a:rPr lang="tr-TR" dirty="0"/>
              <a:t>sekmesinin altında açılan </a:t>
            </a:r>
            <a:r>
              <a:rPr lang="tr-TR" b="1" dirty="0"/>
              <a:t>«Yüklenici Personel Tanımları» </a:t>
            </a:r>
            <a:r>
              <a:rPr lang="tr-TR" dirty="0"/>
              <a:t>sekmesine tıkladığınızda yukarıdaki ekran açılacaktır. Bu bölümde personel kaydı için       işaretine tıklayınız.</a:t>
            </a:r>
          </a:p>
        </p:txBody>
      </p:sp>
      <p:pic>
        <p:nvPicPr>
          <p:cNvPr id="4" name="Resim 3">
            <a:extLst>
              <a:ext uri="{FF2B5EF4-FFF2-40B4-BE49-F238E27FC236}">
                <a16:creationId xmlns="" xmlns:a16="http://schemas.microsoft.com/office/drawing/2014/main" id="{F7136203-40DD-4AE0-ABEB-084AD3AAD4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810" y="957234"/>
            <a:ext cx="10310597" cy="3258148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="" xmlns:a16="http://schemas.microsoft.com/office/drawing/2014/main" id="{88E652E9-6F90-4B3C-9700-7774DAFC07A2}"/>
              </a:ext>
            </a:extLst>
          </p:cNvPr>
          <p:cNvSpPr/>
          <p:nvPr/>
        </p:nvSpPr>
        <p:spPr>
          <a:xfrm>
            <a:off x="923544" y="3429000"/>
            <a:ext cx="1280160" cy="338700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/>
          </a:p>
        </p:txBody>
      </p:sp>
      <p:pic>
        <p:nvPicPr>
          <p:cNvPr id="8" name="Resim 7">
            <a:extLst>
              <a:ext uri="{FF2B5EF4-FFF2-40B4-BE49-F238E27FC236}">
                <a16:creationId xmlns="" xmlns:a16="http://schemas.microsoft.com/office/drawing/2014/main" id="{C22BEEED-FD40-4098-A4C6-17D26E128E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44982" y="4778392"/>
            <a:ext cx="447675" cy="43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5742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16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8" y="312738"/>
            <a:ext cx="11442700" cy="461665"/>
          </a:xfrm>
        </p:spPr>
        <p:txBody>
          <a:bodyPr/>
          <a:lstStyle/>
          <a:p>
            <a:r>
              <a:rPr lang="tr-TR" sz="2400" dirty="0"/>
              <a:t>YES-YÜKLENİCİ ENTEGRE SİSTEMİ – Personel Tanımlamaları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="" xmlns:a16="http://schemas.microsoft.com/office/drawing/2014/main" id="{B7A260CB-7308-48EA-B37B-A7A728460759}"/>
              </a:ext>
            </a:extLst>
          </p:cNvPr>
          <p:cNvSpPr txBox="1"/>
          <p:nvPr/>
        </p:nvSpPr>
        <p:spPr>
          <a:xfrm>
            <a:off x="235614" y="5369323"/>
            <a:ext cx="11635047" cy="867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dirty="0"/>
              <a:t>      işaretine tıkladığınızda yukarıdaki sayfa açılacaktır. Bu bölümde Çalışanın bilgilerini girmeli ve «kaydet» sekmesine tıklamalısınız. Her bir personel için bu işlemi tekrar etmelisiniz.</a:t>
            </a:r>
          </a:p>
        </p:txBody>
      </p:sp>
      <p:pic>
        <p:nvPicPr>
          <p:cNvPr id="7" name="Resim 6">
            <a:extLst>
              <a:ext uri="{FF2B5EF4-FFF2-40B4-BE49-F238E27FC236}">
                <a16:creationId xmlns="" xmlns:a16="http://schemas.microsoft.com/office/drawing/2014/main" id="{0CD50CD2-F8DB-453F-9440-A69909F682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1788" y="5369323"/>
            <a:ext cx="447675" cy="438150"/>
          </a:xfrm>
          <a:prstGeom prst="rect">
            <a:avLst/>
          </a:prstGeom>
        </p:spPr>
      </p:pic>
      <p:pic>
        <p:nvPicPr>
          <p:cNvPr id="11" name="Resim 10">
            <a:extLst>
              <a:ext uri="{FF2B5EF4-FFF2-40B4-BE49-F238E27FC236}">
                <a16:creationId xmlns="" xmlns:a16="http://schemas.microsoft.com/office/drawing/2014/main" id="{13445B13-F2D5-4D82-B83B-3BC433B891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0508" y="978735"/>
            <a:ext cx="9105201" cy="4258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0803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17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8" y="312738"/>
            <a:ext cx="11442700" cy="461665"/>
          </a:xfrm>
        </p:spPr>
        <p:txBody>
          <a:bodyPr/>
          <a:lstStyle/>
          <a:p>
            <a:r>
              <a:rPr lang="tr-TR" sz="2400" dirty="0"/>
              <a:t>YES-YÜKLENİCİ ENTEGRE SİSTEMİ – Ekipman Tanımlamaları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="" xmlns:a16="http://schemas.microsoft.com/office/drawing/2014/main" id="{B7A260CB-7308-48EA-B37B-A7A728460759}"/>
              </a:ext>
            </a:extLst>
          </p:cNvPr>
          <p:cNvSpPr txBox="1"/>
          <p:nvPr/>
        </p:nvSpPr>
        <p:spPr>
          <a:xfrm>
            <a:off x="235614" y="5369323"/>
            <a:ext cx="11635047" cy="867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b="1" dirty="0"/>
              <a:t>«Tanımlar» </a:t>
            </a:r>
            <a:r>
              <a:rPr lang="tr-TR" dirty="0"/>
              <a:t>sekmesinin altında açılan </a:t>
            </a:r>
            <a:r>
              <a:rPr lang="tr-TR" b="1" dirty="0"/>
              <a:t>«Yüklenici Ekipman Tanımları» </a:t>
            </a:r>
            <a:r>
              <a:rPr lang="tr-TR" dirty="0"/>
              <a:t>sekmesine tıkladığınızda yukarıdaki ekran açılacaktır. Bu bölümde ekipman tanımı için       işaretine tıklayınız.</a:t>
            </a:r>
          </a:p>
        </p:txBody>
      </p:sp>
      <p:pic>
        <p:nvPicPr>
          <p:cNvPr id="7" name="Resim 6">
            <a:extLst>
              <a:ext uri="{FF2B5EF4-FFF2-40B4-BE49-F238E27FC236}">
                <a16:creationId xmlns="" xmlns:a16="http://schemas.microsoft.com/office/drawing/2014/main" id="{0CD50CD2-F8DB-453F-9440-A69909F682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64159" y="5807473"/>
            <a:ext cx="447675" cy="438150"/>
          </a:xfrm>
          <a:prstGeom prst="rect">
            <a:avLst/>
          </a:prstGeom>
        </p:spPr>
      </p:pic>
      <p:pic>
        <p:nvPicPr>
          <p:cNvPr id="3" name="Resim 2">
            <a:extLst>
              <a:ext uri="{FF2B5EF4-FFF2-40B4-BE49-F238E27FC236}">
                <a16:creationId xmlns="" xmlns:a16="http://schemas.microsoft.com/office/drawing/2014/main" id="{08F97C1E-B98B-4288-949B-D6B962DF19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59139" y="948643"/>
            <a:ext cx="8795203" cy="4304825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="" xmlns:a16="http://schemas.microsoft.com/office/drawing/2014/main" id="{C786818F-31D8-479C-BA53-A9B63988A3CF}"/>
              </a:ext>
            </a:extLst>
          </p:cNvPr>
          <p:cNvSpPr/>
          <p:nvPr/>
        </p:nvSpPr>
        <p:spPr>
          <a:xfrm>
            <a:off x="1459139" y="3767700"/>
            <a:ext cx="1280160" cy="338700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/>
          </a:p>
        </p:txBody>
      </p:sp>
    </p:spTree>
    <p:extLst>
      <p:ext uri="{BB962C8B-B14F-4D97-AF65-F5344CB8AC3E}">
        <p14:creationId xmlns:p14="http://schemas.microsoft.com/office/powerpoint/2010/main" val="22301975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18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8" y="312738"/>
            <a:ext cx="11442700" cy="461665"/>
          </a:xfrm>
        </p:spPr>
        <p:txBody>
          <a:bodyPr/>
          <a:lstStyle/>
          <a:p>
            <a:r>
              <a:rPr lang="tr-TR" sz="2400" dirty="0"/>
              <a:t>YES-YÜKLENİCİ ENTEGRE SİSTEMİ – Ekipman Tanımlamaları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="" xmlns:a16="http://schemas.microsoft.com/office/drawing/2014/main" id="{B7A260CB-7308-48EA-B37B-A7A728460759}"/>
              </a:ext>
            </a:extLst>
          </p:cNvPr>
          <p:cNvSpPr txBox="1"/>
          <p:nvPr/>
        </p:nvSpPr>
        <p:spPr>
          <a:xfrm>
            <a:off x="235614" y="5369323"/>
            <a:ext cx="11635047" cy="867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dirty="0"/>
              <a:t>      işaretine tıkladığınızda yukarıdaki sayfa açılacaktır. Bu bölümde ekipman bilgilerini girmeli ve «kaydet» sekmesine tıklamalısınız. Her bir ekipman için bu işlemi tekrar etmelisiniz.</a:t>
            </a:r>
          </a:p>
        </p:txBody>
      </p:sp>
      <p:pic>
        <p:nvPicPr>
          <p:cNvPr id="7" name="Resim 6">
            <a:extLst>
              <a:ext uri="{FF2B5EF4-FFF2-40B4-BE49-F238E27FC236}">
                <a16:creationId xmlns="" xmlns:a16="http://schemas.microsoft.com/office/drawing/2014/main" id="{0CD50CD2-F8DB-453F-9440-A69909F682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1788" y="5369323"/>
            <a:ext cx="447675" cy="438150"/>
          </a:xfrm>
          <a:prstGeom prst="rect">
            <a:avLst/>
          </a:prstGeom>
        </p:spPr>
      </p:pic>
      <p:pic>
        <p:nvPicPr>
          <p:cNvPr id="3" name="Resim 2">
            <a:extLst>
              <a:ext uri="{FF2B5EF4-FFF2-40B4-BE49-F238E27FC236}">
                <a16:creationId xmlns="" xmlns:a16="http://schemas.microsoft.com/office/drawing/2014/main" id="{DD777909-FFF4-4753-A6A4-FFB0FD8AC7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3523" y="923970"/>
            <a:ext cx="9699171" cy="4139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0122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19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8" y="312738"/>
            <a:ext cx="11442700" cy="461665"/>
          </a:xfrm>
        </p:spPr>
        <p:txBody>
          <a:bodyPr/>
          <a:lstStyle/>
          <a:p>
            <a:r>
              <a:rPr lang="tr-TR" sz="2400" dirty="0"/>
              <a:t>YES-YÜKLENİCİ ENTEGRE SİSTEMİ – Personel Ataması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="" xmlns:a16="http://schemas.microsoft.com/office/drawing/2014/main" id="{B7A260CB-7308-48EA-B37B-A7A728460759}"/>
              </a:ext>
            </a:extLst>
          </p:cNvPr>
          <p:cNvSpPr txBox="1"/>
          <p:nvPr/>
        </p:nvSpPr>
        <p:spPr>
          <a:xfrm>
            <a:off x="208756" y="4595736"/>
            <a:ext cx="11635047" cy="1698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dirty="0"/>
              <a:t> Personel ve ekipman tanımlamalarını yaptıktan sonra ekranın sol üst köşesinde bulunan «</a:t>
            </a:r>
            <a:r>
              <a:rPr lang="tr-TR" dirty="0" err="1"/>
              <a:t>Anasayfa</a:t>
            </a:r>
            <a:r>
              <a:rPr lang="tr-TR" dirty="0"/>
              <a:t>» sekmesine tıkladığınızda yukarıdaki ekran açılacaktır. Bu bölümde </a:t>
            </a:r>
            <a:r>
              <a:rPr lang="tr-TR" b="1" dirty="0"/>
              <a:t>Bekleyen Atamalar </a:t>
            </a:r>
            <a:r>
              <a:rPr lang="tr-TR" dirty="0"/>
              <a:t>sekmesi altında bulunan </a:t>
            </a:r>
            <a:r>
              <a:rPr lang="tr-TR" b="1" dirty="0"/>
              <a:t>«Personel Ataması Yapılmamış Projeler» </a:t>
            </a:r>
            <a:r>
              <a:rPr lang="tr-TR" dirty="0"/>
              <a:t>sekmesine tıklayınız.</a:t>
            </a:r>
          </a:p>
        </p:txBody>
      </p:sp>
      <p:pic>
        <p:nvPicPr>
          <p:cNvPr id="7" name="Resim 6">
            <a:extLst>
              <a:ext uri="{FF2B5EF4-FFF2-40B4-BE49-F238E27FC236}">
                <a16:creationId xmlns="" xmlns:a16="http://schemas.microsoft.com/office/drawing/2014/main" id="{D3D30E70-F109-4B10-9018-B02DA68D2E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904" y="1089651"/>
            <a:ext cx="10905934" cy="3056404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="" xmlns:a16="http://schemas.microsoft.com/office/drawing/2014/main" id="{0E95358F-E3B5-4BDD-9110-C72130005237}"/>
              </a:ext>
            </a:extLst>
          </p:cNvPr>
          <p:cNvSpPr/>
          <p:nvPr/>
        </p:nvSpPr>
        <p:spPr>
          <a:xfrm>
            <a:off x="2340864" y="2645656"/>
            <a:ext cx="2203704" cy="445015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/>
          </a:p>
        </p:txBody>
      </p:sp>
    </p:spTree>
    <p:extLst>
      <p:ext uri="{BB962C8B-B14F-4D97-AF65-F5344CB8AC3E}">
        <p14:creationId xmlns:p14="http://schemas.microsoft.com/office/powerpoint/2010/main" val="5879238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2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8" y="312738"/>
            <a:ext cx="11442700" cy="461665"/>
          </a:xfrm>
        </p:spPr>
        <p:txBody>
          <a:bodyPr/>
          <a:lstStyle/>
          <a:p>
            <a:r>
              <a:rPr lang="tr-TR" sz="2400" dirty="0"/>
              <a:t>YES-YÜKLENİCİ ENTEGRE SİSTEMİNE GİRİŞ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="" xmlns:a16="http://schemas.microsoft.com/office/drawing/2014/main" id="{B7A260CB-7308-48EA-B37B-A7A728460759}"/>
              </a:ext>
            </a:extLst>
          </p:cNvPr>
          <p:cNvSpPr txBox="1"/>
          <p:nvPr/>
        </p:nvSpPr>
        <p:spPr>
          <a:xfrm>
            <a:off x="7022624" y="1655083"/>
            <a:ext cx="458504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dirty="0"/>
              <a:t>Sisteme yüklenici kaydınız yapıldıktan sonra tanımlanmış olan mail adresinize kullanıcı adınız ve şifre değiştirme linki gelecektir. Linke tıkladığınızda, </a:t>
            </a:r>
            <a:r>
              <a:rPr lang="tr-TR" b="1" dirty="0"/>
              <a:t>«Yüklenici Şifre Değiştirme» </a:t>
            </a:r>
            <a:r>
              <a:rPr lang="tr-TR" dirty="0"/>
              <a:t>ekranı açılacaktır. Bu bölümde yeni bir şifre belirleyerek </a:t>
            </a:r>
            <a:r>
              <a:rPr lang="tr-TR" b="1" dirty="0" smtClean="0"/>
              <a:t>«Kaydet» </a:t>
            </a:r>
            <a:r>
              <a:rPr lang="tr-TR" dirty="0"/>
              <a:t>sekmesine tıklayınız.</a:t>
            </a:r>
          </a:p>
        </p:txBody>
      </p:sp>
      <p:pic>
        <p:nvPicPr>
          <p:cNvPr id="2" name="Resim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788" y="1269243"/>
            <a:ext cx="6315075" cy="3924300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="" xmlns:a16="http://schemas.microsoft.com/office/drawing/2014/main" id="{5F1FDE41-BC2B-40BB-B063-53BC7E12DC9C}"/>
              </a:ext>
            </a:extLst>
          </p:cNvPr>
          <p:cNvSpPr/>
          <p:nvPr/>
        </p:nvSpPr>
        <p:spPr>
          <a:xfrm>
            <a:off x="853942" y="4084664"/>
            <a:ext cx="735707" cy="543605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/>
          </a:p>
        </p:txBody>
      </p:sp>
    </p:spTree>
    <p:extLst>
      <p:ext uri="{BB962C8B-B14F-4D97-AF65-F5344CB8AC3E}">
        <p14:creationId xmlns:p14="http://schemas.microsoft.com/office/powerpoint/2010/main" val="41243927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20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8" y="312738"/>
            <a:ext cx="11442700" cy="461665"/>
          </a:xfrm>
        </p:spPr>
        <p:txBody>
          <a:bodyPr/>
          <a:lstStyle/>
          <a:p>
            <a:r>
              <a:rPr lang="tr-TR" sz="2400" dirty="0"/>
              <a:t>YES-YÜKLENİCİ ENTEGRE SİSTEMİ – Personel Ataması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="" xmlns:a16="http://schemas.microsoft.com/office/drawing/2014/main" id="{B7A260CB-7308-48EA-B37B-A7A728460759}"/>
              </a:ext>
            </a:extLst>
          </p:cNvPr>
          <p:cNvSpPr txBox="1"/>
          <p:nvPr/>
        </p:nvSpPr>
        <p:spPr>
          <a:xfrm>
            <a:off x="208756" y="4193295"/>
            <a:ext cx="11635047" cy="1698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b="1" dirty="0"/>
              <a:t>«Personel Ataması Yapılmamış Projeler» </a:t>
            </a:r>
            <a:r>
              <a:rPr lang="tr-TR" dirty="0"/>
              <a:t>sekmesine tıkladığınızda projeler listelenecektir. Hangi projeye personel ataması yapılacak ise o projenin solunda bulunan     işaretine tıklandığında yukarıdaki sayfa açılacaktır. Bu bölümde projede çalışacak personelleri seçiniz ve </a:t>
            </a:r>
            <a:r>
              <a:rPr lang="tr-TR" b="1" dirty="0"/>
              <a:t>«Kaydet» </a:t>
            </a:r>
            <a:r>
              <a:rPr lang="tr-TR" dirty="0"/>
              <a:t>sekmesine tıklayınız.</a:t>
            </a:r>
          </a:p>
        </p:txBody>
      </p:sp>
      <p:pic>
        <p:nvPicPr>
          <p:cNvPr id="3" name="Resim 2">
            <a:extLst>
              <a:ext uri="{FF2B5EF4-FFF2-40B4-BE49-F238E27FC236}">
                <a16:creationId xmlns="" xmlns:a16="http://schemas.microsoft.com/office/drawing/2014/main" id="{397535C9-3072-4513-9C29-AE0E34D351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9953" y="4681481"/>
            <a:ext cx="364047" cy="302082"/>
          </a:xfrm>
          <a:prstGeom prst="rect">
            <a:avLst/>
          </a:prstGeom>
        </p:spPr>
      </p:pic>
      <p:pic>
        <p:nvPicPr>
          <p:cNvPr id="6" name="Resim 5">
            <a:extLst>
              <a:ext uri="{FF2B5EF4-FFF2-40B4-BE49-F238E27FC236}">
                <a16:creationId xmlns="" xmlns:a16="http://schemas.microsoft.com/office/drawing/2014/main" id="{B6092A02-9BC7-4D65-BD2A-A00AAB61FA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5580" y="897239"/>
            <a:ext cx="7695057" cy="3173219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="" xmlns:a16="http://schemas.microsoft.com/office/drawing/2014/main" id="{E421E078-51FD-44DA-8388-8A4A76461869}"/>
              </a:ext>
            </a:extLst>
          </p:cNvPr>
          <p:cNvSpPr/>
          <p:nvPr/>
        </p:nvSpPr>
        <p:spPr>
          <a:xfrm>
            <a:off x="5047487" y="3002272"/>
            <a:ext cx="875621" cy="554744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/>
          </a:p>
        </p:txBody>
      </p:sp>
    </p:spTree>
    <p:extLst>
      <p:ext uri="{BB962C8B-B14F-4D97-AF65-F5344CB8AC3E}">
        <p14:creationId xmlns:p14="http://schemas.microsoft.com/office/powerpoint/2010/main" val="4984865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21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8" y="312738"/>
            <a:ext cx="11442700" cy="461665"/>
          </a:xfrm>
        </p:spPr>
        <p:txBody>
          <a:bodyPr/>
          <a:lstStyle/>
          <a:p>
            <a:r>
              <a:rPr lang="tr-TR" sz="2400" dirty="0"/>
              <a:t>YES-YÜKLENİCİ ENTEGRE SİSTEMİ – Belge Yükleme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="" xmlns:a16="http://schemas.microsoft.com/office/drawing/2014/main" id="{B7A260CB-7308-48EA-B37B-A7A728460759}"/>
              </a:ext>
            </a:extLst>
          </p:cNvPr>
          <p:cNvSpPr txBox="1"/>
          <p:nvPr/>
        </p:nvSpPr>
        <p:spPr>
          <a:xfrm>
            <a:off x="278475" y="4319638"/>
            <a:ext cx="11635047" cy="1698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dirty="0"/>
              <a:t>Personel atama işlemini tamamladıktan sonra</a:t>
            </a:r>
            <a:r>
              <a:rPr lang="tr-TR" b="1" dirty="0"/>
              <a:t> «</a:t>
            </a:r>
            <a:r>
              <a:rPr lang="tr-TR" b="1" dirty="0" err="1"/>
              <a:t>Anasayfa</a:t>
            </a:r>
            <a:r>
              <a:rPr lang="tr-TR" b="1" dirty="0"/>
              <a:t>» </a:t>
            </a:r>
            <a:r>
              <a:rPr lang="tr-TR" dirty="0"/>
              <a:t>sekmesine tıkladığınızda yukarıdaki ekran açılacaktır. Bu bölümde belge yükleme işlemi için </a:t>
            </a:r>
            <a:r>
              <a:rPr lang="tr-TR" b="1" dirty="0"/>
              <a:t>Yüklenici Yönetimi</a:t>
            </a:r>
            <a:r>
              <a:rPr lang="tr-TR" dirty="0"/>
              <a:t> sekmesi altında bulunan </a:t>
            </a:r>
            <a:r>
              <a:rPr lang="tr-TR" b="1" dirty="0"/>
              <a:t>«Belgesi Eksik Projeler» </a:t>
            </a:r>
            <a:r>
              <a:rPr lang="tr-TR" dirty="0"/>
              <a:t>sekmesine tıklayınız ardından ilgili proje solunda bulunan</a:t>
            </a:r>
          </a:p>
          <a:p>
            <a:pPr algn="just">
              <a:lnSpc>
                <a:spcPct val="150000"/>
              </a:lnSpc>
            </a:pPr>
            <a:r>
              <a:rPr lang="tr-TR" dirty="0"/>
              <a:t>     işaretine tıklayınız.</a:t>
            </a:r>
          </a:p>
        </p:txBody>
      </p:sp>
      <p:pic>
        <p:nvPicPr>
          <p:cNvPr id="4" name="Resim 3">
            <a:extLst>
              <a:ext uri="{FF2B5EF4-FFF2-40B4-BE49-F238E27FC236}">
                <a16:creationId xmlns="" xmlns:a16="http://schemas.microsoft.com/office/drawing/2014/main" id="{81FDF4C2-5242-4AEC-BBAE-7C56DB0C09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466" y="840077"/>
            <a:ext cx="11875068" cy="3070384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="" xmlns:a16="http://schemas.microsoft.com/office/drawing/2014/main" id="{B2A46001-FCC5-4DEF-B51B-9B62CBAA398F}"/>
              </a:ext>
            </a:extLst>
          </p:cNvPr>
          <p:cNvSpPr/>
          <p:nvPr/>
        </p:nvSpPr>
        <p:spPr>
          <a:xfrm>
            <a:off x="5615327" y="2206744"/>
            <a:ext cx="1379833" cy="554744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/>
          </a:p>
        </p:txBody>
      </p:sp>
      <p:pic>
        <p:nvPicPr>
          <p:cNvPr id="7" name="Resim 6">
            <a:extLst>
              <a:ext uri="{FF2B5EF4-FFF2-40B4-BE49-F238E27FC236}">
                <a16:creationId xmlns="" xmlns:a16="http://schemas.microsoft.com/office/drawing/2014/main" id="{9B75CD98-A184-4C06-BD8C-9131DB7104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788" y="5655211"/>
            <a:ext cx="419100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9294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22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8" y="312738"/>
            <a:ext cx="11442700" cy="461665"/>
          </a:xfrm>
        </p:spPr>
        <p:txBody>
          <a:bodyPr/>
          <a:lstStyle/>
          <a:p>
            <a:r>
              <a:rPr lang="tr-TR" sz="2400" dirty="0"/>
              <a:t>YES-YÜKLENİCİ ENTEGRE SİSTEMİ – Belge Yükleme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="" xmlns:a16="http://schemas.microsoft.com/office/drawing/2014/main" id="{B7A260CB-7308-48EA-B37B-A7A728460759}"/>
              </a:ext>
            </a:extLst>
          </p:cNvPr>
          <p:cNvSpPr txBox="1"/>
          <p:nvPr/>
        </p:nvSpPr>
        <p:spPr>
          <a:xfrm>
            <a:off x="235614" y="4589140"/>
            <a:ext cx="1163504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sz="1600" dirty="0"/>
              <a:t>Proje kapsamında hem firma hem de çalışacak personellerin her biri için yapılacak işin niteliğine göre farklı belge türleri talep </a:t>
            </a:r>
            <a:r>
              <a:rPr lang="tr-TR" sz="1600" dirty="0" smtClean="0"/>
              <a:t>edilmektedir. Bir proje birden çok santral için tanımlanmış olabilir. Yönetici </a:t>
            </a:r>
            <a:r>
              <a:rPr lang="tr-TR" sz="1600" dirty="0"/>
              <a:t>Entegre Sistemi üzerinden size atanmış olan belgeler yapacağınız iş dikkate alınarak belirlenmiştir ve tüm belgelerin eksiksiz yüklenmesi gerekmektedir. Belge yüklemesi yapılmadan önce mutlaka sizden talep edilen belgenin açıklaması okunmalıdır</a:t>
            </a:r>
            <a:r>
              <a:rPr lang="tr-TR" sz="1600" dirty="0" smtClean="0"/>
              <a:t>. </a:t>
            </a:r>
            <a:endParaRPr lang="tr-TR" sz="1600" dirty="0"/>
          </a:p>
        </p:txBody>
      </p:sp>
      <p:pic>
        <p:nvPicPr>
          <p:cNvPr id="6" name="Resi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9788" y="774403"/>
            <a:ext cx="9856212" cy="3806709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="" xmlns:a16="http://schemas.microsoft.com/office/drawing/2014/main" id="{A62D67EA-D1F2-4B30-8E15-2599BBD1067F}"/>
              </a:ext>
            </a:extLst>
          </p:cNvPr>
          <p:cNvSpPr/>
          <p:nvPr/>
        </p:nvSpPr>
        <p:spPr>
          <a:xfrm>
            <a:off x="4319109" y="1407055"/>
            <a:ext cx="758041" cy="461665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/>
          </a:p>
        </p:txBody>
      </p:sp>
    </p:spTree>
    <p:extLst>
      <p:ext uri="{BB962C8B-B14F-4D97-AF65-F5344CB8AC3E}">
        <p14:creationId xmlns:p14="http://schemas.microsoft.com/office/powerpoint/2010/main" val="303720834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23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8" y="312738"/>
            <a:ext cx="11442700" cy="461665"/>
          </a:xfrm>
        </p:spPr>
        <p:txBody>
          <a:bodyPr/>
          <a:lstStyle/>
          <a:p>
            <a:r>
              <a:rPr lang="tr-TR" sz="2400" dirty="0"/>
              <a:t>YES-YÜKLENİCİ ENTEGRE SİSTEMİ – Belge Yükleme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="" xmlns:a16="http://schemas.microsoft.com/office/drawing/2014/main" id="{B7A260CB-7308-48EA-B37B-A7A728460759}"/>
              </a:ext>
            </a:extLst>
          </p:cNvPr>
          <p:cNvSpPr txBox="1"/>
          <p:nvPr/>
        </p:nvSpPr>
        <p:spPr>
          <a:xfrm>
            <a:off x="278476" y="4300604"/>
            <a:ext cx="116350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sz="1600" dirty="0" smtClean="0"/>
              <a:t>Projeye birden çok santral tanımlanmış olabilir. </a:t>
            </a:r>
            <a:r>
              <a:rPr lang="tr-TR" sz="1600" dirty="0" smtClean="0"/>
              <a:t>"İstenme Yeri"</a:t>
            </a:r>
            <a:r>
              <a:rPr lang="tr-TR" sz="1600" dirty="0" smtClean="0"/>
              <a:t> sütununda projenin hangi santral için tanımlı olduğunu, belge sınıfını ve belgenin durumunu santral bazlı görebilirsiniz. </a:t>
            </a:r>
            <a:endParaRPr lang="tr-TR" sz="1600" dirty="0"/>
          </a:p>
        </p:txBody>
      </p:sp>
      <p:pic>
        <p:nvPicPr>
          <p:cNvPr id="2" name="Resi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615" y="934727"/>
            <a:ext cx="11621618" cy="2951717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="" xmlns:a16="http://schemas.microsoft.com/office/drawing/2014/main" id="{A62D67EA-D1F2-4B30-8E15-2599BBD1067F}"/>
              </a:ext>
            </a:extLst>
          </p:cNvPr>
          <p:cNvSpPr/>
          <p:nvPr/>
        </p:nvSpPr>
        <p:spPr>
          <a:xfrm>
            <a:off x="8117385" y="1767290"/>
            <a:ext cx="758041" cy="461665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/>
          </a:p>
        </p:txBody>
      </p:sp>
    </p:spTree>
    <p:extLst>
      <p:ext uri="{BB962C8B-B14F-4D97-AF65-F5344CB8AC3E}">
        <p14:creationId xmlns:p14="http://schemas.microsoft.com/office/powerpoint/2010/main" val="19287030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24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8" y="312738"/>
            <a:ext cx="11442700" cy="461665"/>
          </a:xfrm>
        </p:spPr>
        <p:txBody>
          <a:bodyPr/>
          <a:lstStyle/>
          <a:p>
            <a:r>
              <a:rPr lang="tr-TR" sz="2400" dirty="0"/>
              <a:t>YES-YÜKLENİCİ ENTEGRE SİSTEMİ – Belge Yükleme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="" xmlns:a16="http://schemas.microsoft.com/office/drawing/2014/main" id="{B7A260CB-7308-48EA-B37B-A7A728460759}"/>
              </a:ext>
            </a:extLst>
          </p:cNvPr>
          <p:cNvSpPr txBox="1"/>
          <p:nvPr/>
        </p:nvSpPr>
        <p:spPr>
          <a:xfrm>
            <a:off x="278476" y="4063020"/>
            <a:ext cx="11635047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dirty="0" smtClean="0"/>
              <a:t>YES’ e tanımlamasını yaptığınız personeller personel evrakları başlığı altında listelenecektir. Belgesini yüklemek istediğiniz personelin isminin üzerine tıkladığınızda yukarıdaki gibi bir ekran açılır ve hemen altında istenen belgeler sıralanır</a:t>
            </a:r>
            <a:r>
              <a:rPr lang="tr-TR" dirty="0"/>
              <a:t>. </a:t>
            </a:r>
            <a:r>
              <a:rPr lang="tr-TR" b="1" dirty="0"/>
              <a:t>"İstenme Yeri" </a:t>
            </a:r>
            <a:r>
              <a:rPr lang="tr-TR" dirty="0" smtClean="0"/>
              <a:t>sütununda personel belgelerinin  </a:t>
            </a:r>
            <a:r>
              <a:rPr lang="tr-TR" dirty="0"/>
              <a:t>hangi </a:t>
            </a:r>
            <a:r>
              <a:rPr lang="tr-TR" dirty="0" smtClean="0"/>
              <a:t>santraller için istendiğini görebilirsiniz. Y</a:t>
            </a:r>
            <a:r>
              <a:rPr lang="tr-TR" dirty="0" smtClean="0"/>
              <a:t>üklemek için ilgili belge isminin solunda, işlem sütunu altında bulunan        işaretine tıklayınız.</a:t>
            </a:r>
            <a:endParaRPr lang="tr-TR" dirty="0"/>
          </a:p>
        </p:txBody>
      </p:sp>
      <p:pic>
        <p:nvPicPr>
          <p:cNvPr id="6" name="Resi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6660" y="1399277"/>
            <a:ext cx="11664462" cy="1952292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="" xmlns:a16="http://schemas.microsoft.com/office/drawing/2014/main" id="{EC4CA9FE-434A-409B-BA08-64B0B135999D}"/>
              </a:ext>
            </a:extLst>
          </p:cNvPr>
          <p:cNvSpPr/>
          <p:nvPr/>
        </p:nvSpPr>
        <p:spPr>
          <a:xfrm>
            <a:off x="485898" y="3069717"/>
            <a:ext cx="308927" cy="299630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/>
          </a:p>
        </p:txBody>
      </p:sp>
      <p:pic>
        <p:nvPicPr>
          <p:cNvPr id="14" name="Resim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1297" y="2730671"/>
            <a:ext cx="285750" cy="257175"/>
          </a:xfrm>
          <a:prstGeom prst="rect">
            <a:avLst/>
          </a:prstGeom>
        </p:spPr>
      </p:pic>
      <p:pic>
        <p:nvPicPr>
          <p:cNvPr id="16" name="Resim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1297" y="3069717"/>
            <a:ext cx="285750" cy="257175"/>
          </a:xfrm>
          <a:prstGeom prst="rect">
            <a:avLst/>
          </a:prstGeom>
        </p:spPr>
      </p:pic>
      <p:pic>
        <p:nvPicPr>
          <p:cNvPr id="18" name="Resim 17">
            <a:extLst>
              <a:ext uri="{FF2B5EF4-FFF2-40B4-BE49-F238E27FC236}">
                <a16:creationId xmlns:a16="http://schemas.microsoft.com/office/drawing/2014/main" xmlns="" xmlns:lc="http://schemas.openxmlformats.org/drawingml/2006/lockedCanvas" id="{D5F74749-2C6F-4EE8-811C-EC9DC66B18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27131" y="5793887"/>
            <a:ext cx="381000" cy="3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2366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25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8" y="312738"/>
            <a:ext cx="11442700" cy="461665"/>
          </a:xfrm>
        </p:spPr>
        <p:txBody>
          <a:bodyPr/>
          <a:lstStyle/>
          <a:p>
            <a:r>
              <a:rPr lang="tr-TR" sz="2400" dirty="0"/>
              <a:t>YES-YÜKLENİCİ ENTEGRE SİSTEMİ – Belge Yükleme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="" xmlns:a16="http://schemas.microsoft.com/office/drawing/2014/main" id="{B7A260CB-7308-48EA-B37B-A7A728460759}"/>
              </a:ext>
            </a:extLst>
          </p:cNvPr>
          <p:cNvSpPr txBox="1"/>
          <p:nvPr/>
        </p:nvSpPr>
        <p:spPr>
          <a:xfrm>
            <a:off x="235614" y="3718513"/>
            <a:ext cx="11635047" cy="867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b="1" i="1" u="sng" dirty="0" smtClean="0"/>
              <a:t>Not</a:t>
            </a:r>
            <a:r>
              <a:rPr lang="tr-TR" b="1" i="1" u="sng" dirty="0"/>
              <a:t>:</a:t>
            </a:r>
            <a:r>
              <a:rPr lang="tr-TR" dirty="0"/>
              <a:t> Bazı belgelerde </a:t>
            </a:r>
            <a:r>
              <a:rPr lang="tr-TR" b="1" dirty="0"/>
              <a:t>«Kılavuz Belge İndir» </a:t>
            </a:r>
            <a:r>
              <a:rPr lang="tr-TR" dirty="0"/>
              <a:t>seçeneği bulunmaktadır bu tür belgelerde kılavuz </a:t>
            </a:r>
            <a:r>
              <a:rPr lang="tr-TR" dirty="0" smtClean="0"/>
              <a:t>belgenin       simgesine </a:t>
            </a:r>
            <a:r>
              <a:rPr lang="tr-TR" dirty="0"/>
              <a:t>tıklanarak indirilip doldurulması gerekmektedir.</a:t>
            </a:r>
          </a:p>
        </p:txBody>
      </p:sp>
      <p:pic>
        <p:nvPicPr>
          <p:cNvPr id="12" name="Resim 11">
            <a:extLst>
              <a:ext uri="{FF2B5EF4-FFF2-40B4-BE49-F238E27FC236}">
                <a16:creationId xmlns="" xmlns:a16="http://schemas.microsoft.com/office/drawing/2014/main" id="{B5A7339E-0E66-42F4-B72C-41EAFF133C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5492" y="4183068"/>
            <a:ext cx="419100" cy="371475"/>
          </a:xfrm>
          <a:prstGeom prst="rect">
            <a:avLst/>
          </a:prstGeom>
        </p:spPr>
      </p:pic>
      <p:pic>
        <p:nvPicPr>
          <p:cNvPr id="2" name="Resi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891" y="1063430"/>
            <a:ext cx="12192000" cy="2141838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="" xmlns:a16="http://schemas.microsoft.com/office/drawing/2014/main" id="{3609F569-D5F8-4345-9FBD-D45382DD6997}"/>
              </a:ext>
            </a:extLst>
          </p:cNvPr>
          <p:cNvSpPr/>
          <p:nvPr/>
        </p:nvSpPr>
        <p:spPr>
          <a:xfrm>
            <a:off x="745363" y="2822859"/>
            <a:ext cx="400978" cy="382409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/>
          </a:p>
        </p:txBody>
      </p:sp>
    </p:spTree>
    <p:extLst>
      <p:ext uri="{BB962C8B-B14F-4D97-AF65-F5344CB8AC3E}">
        <p14:creationId xmlns:p14="http://schemas.microsoft.com/office/powerpoint/2010/main" val="404272493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26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8" y="312738"/>
            <a:ext cx="11442700" cy="461665"/>
          </a:xfrm>
        </p:spPr>
        <p:txBody>
          <a:bodyPr/>
          <a:lstStyle/>
          <a:p>
            <a:r>
              <a:rPr lang="tr-TR" sz="2400" dirty="0"/>
              <a:t>YES-YÜKLENİCİ ENTEGRE SİSTEMİ – Belge Yükleme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="" xmlns:a16="http://schemas.microsoft.com/office/drawing/2014/main" id="{B7A260CB-7308-48EA-B37B-A7A728460759}"/>
              </a:ext>
            </a:extLst>
          </p:cNvPr>
          <p:cNvSpPr txBox="1"/>
          <p:nvPr/>
        </p:nvSpPr>
        <p:spPr>
          <a:xfrm>
            <a:off x="235614" y="4712918"/>
            <a:ext cx="1163504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dirty="0"/>
              <a:t>       işaretine tıkladığınızda yukarıdaki gibi bir ekran </a:t>
            </a:r>
            <a:r>
              <a:rPr lang="tr-TR" dirty="0" err="1" smtClean="0"/>
              <a:t>açılır.</a:t>
            </a:r>
            <a:r>
              <a:rPr lang="tr-TR" dirty="0" err="1" smtClean="0"/>
              <a:t>Bu</a:t>
            </a:r>
            <a:r>
              <a:rPr lang="tr-TR" dirty="0" smtClean="0"/>
              <a:t> </a:t>
            </a:r>
            <a:r>
              <a:rPr lang="tr-TR" dirty="0"/>
              <a:t>bölümde </a:t>
            </a:r>
            <a:r>
              <a:rPr lang="tr-TR" b="1" dirty="0"/>
              <a:t>«Dosya Seç» </a:t>
            </a:r>
            <a:r>
              <a:rPr lang="tr-TR" dirty="0"/>
              <a:t>sekmesine tıklayarak yüklemek istediğiniz </a:t>
            </a:r>
            <a:r>
              <a:rPr lang="tr-TR" dirty="0" smtClean="0"/>
              <a:t>dosyayı hangi santral için </a:t>
            </a:r>
            <a:r>
              <a:rPr lang="tr-TR" dirty="0"/>
              <a:t>yüklemek </a:t>
            </a:r>
            <a:r>
              <a:rPr lang="tr-TR" dirty="0" smtClean="0"/>
              <a:t>istediğinizi </a:t>
            </a:r>
            <a:r>
              <a:rPr lang="tr-TR" b="1" dirty="0" smtClean="0"/>
              <a:t>"Geçerli Yerler"  </a:t>
            </a:r>
            <a:r>
              <a:rPr lang="tr-TR" dirty="0" smtClean="0"/>
              <a:t>bölümünden santral bazlı olarak </a:t>
            </a:r>
            <a:r>
              <a:rPr lang="tr-TR" dirty="0" smtClean="0"/>
              <a:t>seçtikten </a:t>
            </a:r>
            <a:r>
              <a:rPr lang="tr-TR" dirty="0"/>
              <a:t>sonra </a:t>
            </a:r>
            <a:r>
              <a:rPr lang="tr-TR" b="1" dirty="0"/>
              <a:t>«Kaydet» </a:t>
            </a:r>
            <a:r>
              <a:rPr lang="tr-TR" dirty="0"/>
              <a:t>sekmesine tıklayarak kaydetmelisiniz. Aynı işlemi diğer belge yüklemeleri içinde tek tek yapmalısınız.</a:t>
            </a:r>
          </a:p>
        </p:txBody>
      </p:sp>
      <p:pic>
        <p:nvPicPr>
          <p:cNvPr id="11" name="Resim 10">
            <a:extLst>
              <a:ext uri="{FF2B5EF4-FFF2-40B4-BE49-F238E27FC236}">
                <a16:creationId xmlns="" xmlns:a16="http://schemas.microsoft.com/office/drawing/2014/main" id="{E6D2797F-AD43-4C80-A29F-1E763420FE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639" y="4832483"/>
            <a:ext cx="381000" cy="361950"/>
          </a:xfrm>
          <a:prstGeom prst="rect">
            <a:avLst/>
          </a:prstGeom>
        </p:spPr>
      </p:pic>
      <p:pic>
        <p:nvPicPr>
          <p:cNvPr id="2" name="Resi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2492" y="803401"/>
            <a:ext cx="8383528" cy="3679102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="" xmlns:a16="http://schemas.microsoft.com/office/drawing/2014/main" id="{2C4BE300-37F5-4B19-BA82-6DFE37468401}"/>
              </a:ext>
            </a:extLst>
          </p:cNvPr>
          <p:cNvSpPr/>
          <p:nvPr/>
        </p:nvSpPr>
        <p:spPr>
          <a:xfrm>
            <a:off x="1152492" y="3870823"/>
            <a:ext cx="589291" cy="287284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/>
          </a:p>
        </p:txBody>
      </p:sp>
      <p:sp>
        <p:nvSpPr>
          <p:cNvPr id="13" name="Oval 12">
            <a:extLst>
              <a:ext uri="{FF2B5EF4-FFF2-40B4-BE49-F238E27FC236}">
                <a16:creationId xmlns="" xmlns:a16="http://schemas.microsoft.com/office/drawing/2014/main" id="{52CA4249-7F8B-46B5-977B-D279180CAF25}"/>
              </a:ext>
            </a:extLst>
          </p:cNvPr>
          <p:cNvSpPr/>
          <p:nvPr/>
        </p:nvSpPr>
        <p:spPr>
          <a:xfrm>
            <a:off x="5071416" y="4158107"/>
            <a:ext cx="593042" cy="295663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/>
          </a:p>
        </p:txBody>
      </p:sp>
      <p:sp>
        <p:nvSpPr>
          <p:cNvPr id="10" name="Oval 9">
            <a:extLst>
              <a:ext uri="{FF2B5EF4-FFF2-40B4-BE49-F238E27FC236}">
                <a16:creationId xmlns="" xmlns:a16="http://schemas.microsoft.com/office/drawing/2014/main" id="{52CA4249-7F8B-46B5-977B-D279180CAF25}"/>
              </a:ext>
            </a:extLst>
          </p:cNvPr>
          <p:cNvSpPr/>
          <p:nvPr/>
        </p:nvSpPr>
        <p:spPr>
          <a:xfrm>
            <a:off x="1901630" y="3588124"/>
            <a:ext cx="593042" cy="295663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/>
          </a:p>
        </p:txBody>
      </p:sp>
    </p:spTree>
    <p:extLst>
      <p:ext uri="{BB962C8B-B14F-4D97-AF65-F5344CB8AC3E}">
        <p14:creationId xmlns:p14="http://schemas.microsoft.com/office/powerpoint/2010/main" val="3766289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3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8" y="312738"/>
            <a:ext cx="11442700" cy="461665"/>
          </a:xfrm>
        </p:spPr>
        <p:txBody>
          <a:bodyPr/>
          <a:lstStyle/>
          <a:p>
            <a:r>
              <a:rPr lang="tr-TR" sz="2400" dirty="0"/>
              <a:t>YES-YÜKLENİCİ ENTEGRE SİSTEMİNE GİRİŞ</a:t>
            </a:r>
          </a:p>
        </p:txBody>
      </p:sp>
      <p:sp>
        <p:nvSpPr>
          <p:cNvPr id="8" name="Metin kutusu 7">
            <a:extLst>
              <a:ext uri="{FF2B5EF4-FFF2-40B4-BE49-F238E27FC236}">
                <a16:creationId xmlns="" xmlns:a16="http://schemas.microsoft.com/office/drawing/2014/main" id="{A7E57CC5-4EDB-4BA1-98A1-CA222C0D2F8F}"/>
              </a:ext>
            </a:extLst>
          </p:cNvPr>
          <p:cNvSpPr txBox="1"/>
          <p:nvPr/>
        </p:nvSpPr>
        <p:spPr>
          <a:xfrm>
            <a:off x="6954583" y="1290801"/>
            <a:ext cx="4742704" cy="3831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dirty="0"/>
              <a:t>Şifre değişikliği sonrası giriş yapmak istediğinizde </a:t>
            </a:r>
            <a:r>
              <a:rPr lang="tr-TR" dirty="0" smtClean="0"/>
              <a:t>yandaki ekran </a:t>
            </a:r>
            <a:r>
              <a:rPr lang="tr-TR" dirty="0"/>
              <a:t>açılacaktır. KVKK sözleşmesini içeren, kaşe ve imzalayarak taratmış olduğunuz belgeyi </a:t>
            </a:r>
            <a:r>
              <a:rPr lang="tr-TR" b="1" dirty="0"/>
              <a:t>«Dosya Seç» </a:t>
            </a:r>
            <a:r>
              <a:rPr lang="tr-TR" dirty="0"/>
              <a:t>sekmesinden yüklemelisiniz. Kullanıcı sözleşmesini okudum onaylıyorum kısmını işaretleyerek </a:t>
            </a:r>
            <a:r>
              <a:rPr lang="tr-TR" b="1" dirty="0" smtClean="0"/>
              <a:t>«Kaydet»</a:t>
            </a:r>
            <a:r>
              <a:rPr lang="tr-TR" dirty="0" smtClean="0"/>
              <a:t> </a:t>
            </a:r>
            <a:r>
              <a:rPr lang="tr-TR" dirty="0"/>
              <a:t>butonuna tıklamalısınız.</a:t>
            </a:r>
          </a:p>
        </p:txBody>
      </p:sp>
      <p:pic>
        <p:nvPicPr>
          <p:cNvPr id="2" name="Resim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535" y="1059279"/>
            <a:ext cx="6419850" cy="4181475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="" xmlns:a16="http://schemas.microsoft.com/office/drawing/2014/main" id="{83235983-9791-4888-BA64-899B76C97213}"/>
              </a:ext>
            </a:extLst>
          </p:cNvPr>
          <p:cNvSpPr/>
          <p:nvPr/>
        </p:nvSpPr>
        <p:spPr>
          <a:xfrm>
            <a:off x="804657" y="3795256"/>
            <a:ext cx="1113305" cy="354744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="" xmlns:a16="http://schemas.microsoft.com/office/drawing/2014/main" id="{83235983-9791-4888-BA64-899B76C97213}"/>
              </a:ext>
            </a:extLst>
          </p:cNvPr>
          <p:cNvSpPr/>
          <p:nvPr/>
        </p:nvSpPr>
        <p:spPr>
          <a:xfrm>
            <a:off x="728322" y="4150000"/>
            <a:ext cx="959802" cy="358696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2680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4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8" y="312738"/>
            <a:ext cx="11442700" cy="461665"/>
          </a:xfrm>
        </p:spPr>
        <p:txBody>
          <a:bodyPr/>
          <a:lstStyle/>
          <a:p>
            <a:r>
              <a:rPr lang="tr-TR" sz="2400" dirty="0"/>
              <a:t>YES-YÜKLENİCİ ENTEGRE SİSTEMİNE GİRİŞ</a:t>
            </a:r>
          </a:p>
        </p:txBody>
      </p:sp>
      <p:sp>
        <p:nvSpPr>
          <p:cNvPr id="8" name="Metin kutusu 7">
            <a:extLst>
              <a:ext uri="{FF2B5EF4-FFF2-40B4-BE49-F238E27FC236}">
                <a16:creationId xmlns="" xmlns:a16="http://schemas.microsoft.com/office/drawing/2014/main" id="{A7E57CC5-4EDB-4BA1-98A1-CA222C0D2F8F}"/>
              </a:ext>
            </a:extLst>
          </p:cNvPr>
          <p:cNvSpPr txBox="1"/>
          <p:nvPr/>
        </p:nvSpPr>
        <p:spPr>
          <a:xfrm>
            <a:off x="6891278" y="1757773"/>
            <a:ext cx="474270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dirty="0" smtClean="0"/>
              <a:t>KVKK Dokümanı ekleme işleminden sonra </a:t>
            </a:r>
            <a:r>
              <a:rPr lang="tr-TR" dirty="0" err="1" smtClean="0"/>
              <a:t>Enerjisa</a:t>
            </a:r>
            <a:r>
              <a:rPr lang="tr-TR" dirty="0" smtClean="0"/>
              <a:t> kullanıcıları tarafından KVKK dokümanının değerlendirilmesi beklenecektir. Bu süre zarfında uygulamaya giriş yapmak istediğinizde yandaki uyarıyı alacaksınız.</a:t>
            </a: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08" y="1297835"/>
            <a:ext cx="6147567" cy="35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1277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5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8" y="312738"/>
            <a:ext cx="11442700" cy="461665"/>
          </a:xfrm>
        </p:spPr>
        <p:txBody>
          <a:bodyPr/>
          <a:lstStyle/>
          <a:p>
            <a:r>
              <a:rPr lang="tr-TR" sz="2400" dirty="0"/>
              <a:t>YES-YÜKLENİCİ ENTEGRE SİSTEMİNE GİRİŞ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="" xmlns:a16="http://schemas.microsoft.com/office/drawing/2014/main" id="{B7A260CB-7308-48EA-B37B-A7A728460759}"/>
              </a:ext>
            </a:extLst>
          </p:cNvPr>
          <p:cNvSpPr txBox="1"/>
          <p:nvPr/>
        </p:nvSpPr>
        <p:spPr>
          <a:xfrm>
            <a:off x="318183" y="1082284"/>
            <a:ext cx="4871940" cy="3831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dirty="0" smtClean="0"/>
              <a:t>KVKK Sözleşmesi onaylandıktan sonra mail adresinize bilgilendirme maili gönderilecektir. </a:t>
            </a:r>
          </a:p>
          <a:p>
            <a:pPr algn="just">
              <a:lnSpc>
                <a:spcPct val="150000"/>
              </a:lnSpc>
            </a:pPr>
            <a:r>
              <a:rPr lang="tr-TR" dirty="0" smtClean="0"/>
              <a:t>Onay sonrası sisteme giriş yapmak istediğinizde e-mail doğrulaması yapmanız gerekmektedir. </a:t>
            </a:r>
            <a:r>
              <a:rPr lang="tr-TR" dirty="0"/>
              <a:t>Sistemde bulunan e-mail adresinize gelen doğrulama kodunu yazarak </a:t>
            </a:r>
            <a:r>
              <a:rPr lang="tr-TR" b="1" dirty="0"/>
              <a:t>«Doğrula»</a:t>
            </a:r>
            <a:r>
              <a:rPr lang="tr-TR" dirty="0"/>
              <a:t> butonuna tıklamalısınız.</a:t>
            </a:r>
          </a:p>
        </p:txBody>
      </p:sp>
      <p:pic>
        <p:nvPicPr>
          <p:cNvPr id="2" name="Resim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039" y="1080815"/>
            <a:ext cx="6448425" cy="3695700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="" xmlns:a16="http://schemas.microsoft.com/office/drawing/2014/main" id="{4CE0E09A-40D6-4AB6-95A8-E137E152A083}"/>
              </a:ext>
            </a:extLst>
          </p:cNvPr>
          <p:cNvSpPr/>
          <p:nvPr/>
        </p:nvSpPr>
        <p:spPr>
          <a:xfrm>
            <a:off x="5873872" y="3667106"/>
            <a:ext cx="987552" cy="558353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/>
          </a:p>
        </p:txBody>
      </p:sp>
    </p:spTree>
    <p:extLst>
      <p:ext uri="{BB962C8B-B14F-4D97-AF65-F5344CB8AC3E}">
        <p14:creationId xmlns:p14="http://schemas.microsoft.com/office/powerpoint/2010/main" val="32343812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6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8" y="312738"/>
            <a:ext cx="11442700" cy="461665"/>
          </a:xfrm>
        </p:spPr>
        <p:txBody>
          <a:bodyPr/>
          <a:lstStyle/>
          <a:p>
            <a:r>
              <a:rPr lang="tr-TR" sz="2400" dirty="0"/>
              <a:t>YES-YÜKLENİCİ ENTEGRE SİSTEMİNE GİRİŞ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="" xmlns:a16="http://schemas.microsoft.com/office/drawing/2014/main" id="{B7A260CB-7308-48EA-B37B-A7A728460759}"/>
              </a:ext>
            </a:extLst>
          </p:cNvPr>
          <p:cNvSpPr txBox="1"/>
          <p:nvPr/>
        </p:nvSpPr>
        <p:spPr>
          <a:xfrm>
            <a:off x="331787" y="1070614"/>
            <a:ext cx="4999867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dirty="0" smtClean="0"/>
              <a:t>E-</a:t>
            </a:r>
            <a:r>
              <a:rPr lang="tr-TR" dirty="0"/>
              <a:t>m</a:t>
            </a:r>
            <a:r>
              <a:rPr lang="tr-TR" dirty="0" smtClean="0"/>
              <a:t>ail doğrulama işlemi tamamlandıktan sonra Telefon Numarası Doğrulama adımına yönlendirileceksiniz. Bu sayfada sistemde bulunan telefon numaranız görüntülenecektir. Telefon numaranızın sistemde olmaması ya da yanlış olması durumunda telefon numarasında düzenleme yaparak </a:t>
            </a:r>
            <a:r>
              <a:rPr lang="tr-TR" b="1" dirty="0"/>
              <a:t>«Doğrula»</a:t>
            </a:r>
            <a:r>
              <a:rPr lang="tr-TR" dirty="0"/>
              <a:t> butonuna tıklamalısınız.</a:t>
            </a:r>
          </a:p>
          <a:p>
            <a:pPr algn="just">
              <a:lnSpc>
                <a:spcPct val="150000"/>
              </a:lnSpc>
            </a:pPr>
            <a:endParaRPr lang="tr-TR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5527" y="1070614"/>
            <a:ext cx="6334125" cy="3562350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="" xmlns:a16="http://schemas.microsoft.com/office/drawing/2014/main" id="{4CE0E09A-40D6-4AB6-95A8-E137E152A083}"/>
              </a:ext>
            </a:extLst>
          </p:cNvPr>
          <p:cNvSpPr/>
          <p:nvPr/>
        </p:nvSpPr>
        <p:spPr>
          <a:xfrm>
            <a:off x="5972815" y="3507725"/>
            <a:ext cx="987552" cy="558353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/>
          </a:p>
        </p:txBody>
      </p:sp>
    </p:spTree>
    <p:extLst>
      <p:ext uri="{BB962C8B-B14F-4D97-AF65-F5344CB8AC3E}">
        <p14:creationId xmlns:p14="http://schemas.microsoft.com/office/powerpoint/2010/main" val="39368455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7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8" y="312738"/>
            <a:ext cx="11442700" cy="461665"/>
          </a:xfrm>
        </p:spPr>
        <p:txBody>
          <a:bodyPr/>
          <a:lstStyle/>
          <a:p>
            <a:r>
              <a:rPr lang="tr-TR" sz="2400" dirty="0"/>
              <a:t>YES-YÜKLENİCİ ENTEGRE SİSTEMİNE GİRİŞ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="" xmlns:a16="http://schemas.microsoft.com/office/drawing/2014/main" id="{B7A260CB-7308-48EA-B37B-A7A728460759}"/>
              </a:ext>
            </a:extLst>
          </p:cNvPr>
          <p:cNvSpPr txBox="1"/>
          <p:nvPr/>
        </p:nvSpPr>
        <p:spPr>
          <a:xfrm>
            <a:off x="388060" y="1376678"/>
            <a:ext cx="4852156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dirty="0" smtClean="0"/>
              <a:t>Ardından Telefon doğrulama adımına geçilecek ve doğrulanmış telefon numarasına gönderilen kodu bu alana girmeniz gerekecektir. Girmiş olduğunuz kodun doğrulanması durumunda uygulamaya giriş yapabileceksiniz.</a:t>
            </a:r>
          </a:p>
          <a:p>
            <a:pPr algn="just">
              <a:lnSpc>
                <a:spcPct val="150000"/>
              </a:lnSpc>
            </a:pPr>
            <a:endParaRPr lang="tr-TR" dirty="0"/>
          </a:p>
        </p:txBody>
      </p:sp>
      <p:pic>
        <p:nvPicPr>
          <p:cNvPr id="2" name="Resim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2955" y="1179138"/>
            <a:ext cx="6343650" cy="3600450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="" xmlns:a16="http://schemas.microsoft.com/office/drawing/2014/main" id="{4CE0E09A-40D6-4AB6-95A8-E137E152A083}"/>
              </a:ext>
            </a:extLst>
          </p:cNvPr>
          <p:cNvSpPr/>
          <p:nvPr/>
        </p:nvSpPr>
        <p:spPr>
          <a:xfrm>
            <a:off x="5857929" y="3622866"/>
            <a:ext cx="987552" cy="558353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/>
          </a:p>
        </p:txBody>
      </p:sp>
      <p:sp>
        <p:nvSpPr>
          <p:cNvPr id="4" name="Dikdörtgen 3"/>
          <p:cNvSpPr/>
          <p:nvPr/>
        </p:nvSpPr>
        <p:spPr>
          <a:xfrm>
            <a:off x="176621" y="4979774"/>
            <a:ext cx="1183875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tr-TR" dirty="0"/>
              <a:t>Yukarıda belirtilen doğrulama adımlarını tamamlayan kullanıcıların sisteme girişi Telefon </a:t>
            </a:r>
            <a:r>
              <a:rPr lang="tr-TR" dirty="0" smtClean="0"/>
              <a:t>doğrulamasının </a:t>
            </a:r>
            <a:r>
              <a:rPr lang="tr-TR" dirty="0"/>
              <a:t>yapılmasının ardından gerçekleşebilecektir. </a:t>
            </a:r>
          </a:p>
        </p:txBody>
      </p:sp>
    </p:spTree>
    <p:extLst>
      <p:ext uri="{BB962C8B-B14F-4D97-AF65-F5344CB8AC3E}">
        <p14:creationId xmlns:p14="http://schemas.microsoft.com/office/powerpoint/2010/main" val="38438308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8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8" y="312738"/>
            <a:ext cx="11442700" cy="461665"/>
          </a:xfrm>
        </p:spPr>
        <p:txBody>
          <a:bodyPr/>
          <a:lstStyle/>
          <a:p>
            <a:r>
              <a:rPr lang="tr-TR" sz="2400" dirty="0"/>
              <a:t>YES-YÜKLENİCİ ENTEGRE SİSTEMİNE GİRİŞ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="" xmlns:a16="http://schemas.microsoft.com/office/drawing/2014/main" id="{B7A260CB-7308-48EA-B37B-A7A728460759}"/>
              </a:ext>
            </a:extLst>
          </p:cNvPr>
          <p:cNvSpPr txBox="1"/>
          <p:nvPr/>
        </p:nvSpPr>
        <p:spPr>
          <a:xfrm>
            <a:off x="417512" y="1276661"/>
            <a:ext cx="5325366" cy="3083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dirty="0">
                <a:hlinkClick r:id="rId2"/>
              </a:rPr>
              <a:t>https://yes.enerjisauretim.com/Login.aspx</a:t>
            </a:r>
            <a:r>
              <a:rPr lang="tr-TR" dirty="0"/>
              <a:t> </a:t>
            </a:r>
          </a:p>
          <a:p>
            <a:endParaRPr lang="tr-TR" dirty="0"/>
          </a:p>
          <a:p>
            <a:pPr algn="just">
              <a:lnSpc>
                <a:spcPct val="150000"/>
              </a:lnSpc>
            </a:pPr>
            <a:r>
              <a:rPr lang="tr-TR" dirty="0"/>
              <a:t>Yukarıdaki adres YES - Yüklenici Entegre Sistemi sayfasına ulaşmanızı sağlayacak ve ekranda YES kullanıcı giriş sayfası açılacaktır. </a:t>
            </a:r>
          </a:p>
          <a:p>
            <a:pPr algn="just">
              <a:lnSpc>
                <a:spcPct val="150000"/>
              </a:lnSpc>
            </a:pPr>
            <a:r>
              <a:rPr lang="tr-TR" dirty="0"/>
              <a:t>Açılan ekranda </a:t>
            </a:r>
            <a:r>
              <a:rPr lang="tr-TR" b="1" dirty="0"/>
              <a:t>«Yüklenici Girişi» </a:t>
            </a:r>
            <a:r>
              <a:rPr lang="tr-TR" dirty="0"/>
              <a:t>sekmesini seçmelisiniz.</a:t>
            </a:r>
          </a:p>
        </p:txBody>
      </p:sp>
      <p:pic>
        <p:nvPicPr>
          <p:cNvPr id="6" name="Resim 5">
            <a:extLst>
              <a:ext uri="{FF2B5EF4-FFF2-40B4-BE49-F238E27FC236}">
                <a16:creationId xmlns="" xmlns:a16="http://schemas.microsoft.com/office/drawing/2014/main" id="{7BF6CEA3-E10F-4CBF-9C57-272524D133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391298"/>
            <a:ext cx="5782056" cy="3015614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="" xmlns:a16="http://schemas.microsoft.com/office/drawing/2014/main" id="{2C3B5901-331B-4253-A0ED-8B4588885F9E}"/>
              </a:ext>
            </a:extLst>
          </p:cNvPr>
          <p:cNvSpPr/>
          <p:nvPr/>
        </p:nvSpPr>
        <p:spPr>
          <a:xfrm>
            <a:off x="7744968" y="2404303"/>
            <a:ext cx="1188720" cy="461665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/>
          </a:p>
        </p:txBody>
      </p:sp>
    </p:spTree>
    <p:extLst>
      <p:ext uri="{BB962C8B-B14F-4D97-AF65-F5344CB8AC3E}">
        <p14:creationId xmlns:p14="http://schemas.microsoft.com/office/powerpoint/2010/main" val="21080618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ayt Numarası Yer Tutucusu 4">
            <a:extLst>
              <a:ext uri="{FF2B5EF4-FFF2-40B4-BE49-F238E27FC236}">
                <a16:creationId xmlns="" xmlns:a16="http://schemas.microsoft.com/office/drawing/2014/main" id="{7677D510-F891-4E4A-A3EF-0A1708DF8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8A6156-A627-474E-9F69-6627F5ED25C1}" type="slidenum">
              <a:rPr lang="uk-UA" smtClean="0"/>
              <a:pPr/>
              <a:t>9</a:t>
            </a:fld>
            <a:endParaRPr lang="uk-UA" dirty="0"/>
          </a:p>
        </p:txBody>
      </p:sp>
      <p:sp>
        <p:nvSpPr>
          <p:cNvPr id="19" name="Metin Yer Tutucusu 2">
            <a:extLst>
              <a:ext uri="{FF2B5EF4-FFF2-40B4-BE49-F238E27FC236}">
                <a16:creationId xmlns="" xmlns:a16="http://schemas.microsoft.com/office/drawing/2014/main" id="{6D4AE6AF-F77A-4A9F-A926-8597F11DB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8" y="312738"/>
            <a:ext cx="11442700" cy="461665"/>
          </a:xfrm>
        </p:spPr>
        <p:txBody>
          <a:bodyPr/>
          <a:lstStyle/>
          <a:p>
            <a:r>
              <a:rPr lang="tr-TR" sz="2400" dirty="0"/>
              <a:t>YES-YÜKLENİCİ ENTEGRE SİSTEMİNE GİRİŞ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="" xmlns:a16="http://schemas.microsoft.com/office/drawing/2014/main" id="{B7A260CB-7308-48EA-B37B-A7A728460759}"/>
              </a:ext>
            </a:extLst>
          </p:cNvPr>
          <p:cNvSpPr txBox="1"/>
          <p:nvPr/>
        </p:nvSpPr>
        <p:spPr>
          <a:xfrm>
            <a:off x="417512" y="1276661"/>
            <a:ext cx="5325366" cy="16982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dirty="0"/>
              <a:t>«Yüklenici Girişi» sekmesini seçtiğinizde yandaki oturum açma ekranı açılacaktır. Kullanıcı adı ve şifrenizi yazarak giriş yapabilirsiniz. </a:t>
            </a:r>
          </a:p>
        </p:txBody>
      </p:sp>
      <p:pic>
        <p:nvPicPr>
          <p:cNvPr id="4" name="Resim 3">
            <a:extLst>
              <a:ext uri="{FF2B5EF4-FFF2-40B4-BE49-F238E27FC236}">
                <a16:creationId xmlns="" xmlns:a16="http://schemas.microsoft.com/office/drawing/2014/main" id="{4CB37A35-7697-465C-8A44-05D3881F6B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8285" y="1276661"/>
            <a:ext cx="5708059" cy="3118417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="" xmlns:a16="http://schemas.microsoft.com/office/drawing/2014/main" id="{F37CC0E3-9E58-4DED-86A8-487435EAA682}"/>
              </a:ext>
            </a:extLst>
          </p:cNvPr>
          <p:cNvSpPr/>
          <p:nvPr/>
        </p:nvSpPr>
        <p:spPr>
          <a:xfrm>
            <a:off x="6455664" y="3263839"/>
            <a:ext cx="987552" cy="558353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b="1" dirty="0"/>
          </a:p>
        </p:txBody>
      </p:sp>
    </p:spTree>
    <p:extLst>
      <p:ext uri="{BB962C8B-B14F-4D97-AF65-F5344CB8AC3E}">
        <p14:creationId xmlns:p14="http://schemas.microsoft.com/office/powerpoint/2010/main" val="17183450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79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1D&quot; g=&quot;E8&quot; b=&quot;16&quot;/&gt;&lt;m_nBrightness tagver0=&quot;26206&quot; tagname0=&quot;m_nBrightnessUNRECOGNIZED&quot; val=&quot;0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">
  <a:themeElements>
    <a:clrScheme name="ENERJISA URETIM">
      <a:dk1>
        <a:srgbClr val="000000"/>
      </a:dk1>
      <a:lt1>
        <a:srgbClr val="FFFFFF"/>
      </a:lt1>
      <a:dk2>
        <a:srgbClr val="004FB6"/>
      </a:dk2>
      <a:lt2>
        <a:srgbClr val="0C1C8C"/>
      </a:lt2>
      <a:accent1>
        <a:srgbClr val="0077C8"/>
      </a:accent1>
      <a:accent2>
        <a:srgbClr val="8DB9CA"/>
      </a:accent2>
      <a:accent3>
        <a:srgbClr val="009B77"/>
      </a:accent3>
      <a:accent4>
        <a:srgbClr val="A9C37F"/>
      </a:accent4>
      <a:accent5>
        <a:srgbClr val="C88241"/>
      </a:accent5>
      <a:accent6>
        <a:srgbClr val="D9B38F"/>
      </a:accent6>
      <a:hlink>
        <a:srgbClr val="E3002B"/>
      </a:hlink>
      <a:folHlink>
        <a:srgbClr val="954F72"/>
      </a:folHlink>
    </a:clrScheme>
    <a:fontScheme name="Consolas-Verdana">
      <a:majorFont>
        <a:latin typeface="Consolas" panose="020B0609020204030204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 panose="020B060403050404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spe:Receivers xmlns:spe="http://schemas.microsoft.com/sharepoint/events"/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67222097C95C24EB89B3CAAAC7BD2CD" ma:contentTypeVersion="2" ma:contentTypeDescription="Create a new document." ma:contentTypeScope="" ma:versionID="56efc63f2f9c8990626d0addfc37ff23">
  <xsd:schema xmlns:xsd="http://www.w3.org/2001/XMLSchema" xmlns:xs="http://www.w3.org/2001/XMLSchema" xmlns:p="http://schemas.microsoft.com/office/2006/metadata/properties" xmlns:ns2="756157ac-83cb-402c-8c8f-b901f2b9e6b4" targetNamespace="http://schemas.microsoft.com/office/2006/metadata/properties" ma:root="true" ma:fieldsID="bb91b866ef8ca0b4ba9826abf95aeca6" ns2:_="">
    <xsd:import namespace="756157ac-83cb-402c-8c8f-b901f2b9e6b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6157ac-83cb-402c-8c8f-b901f2b9e6b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F080FB2-910E-4764-AA06-A1402B06C49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7FBCDAC-59FD-4A3E-A259-D1DB4BD44FD7}">
  <ds:schemaRefs>
    <ds:schemaRef ds:uri="http://schemas.openxmlformats.org/package/2006/metadata/core-properties"/>
    <ds:schemaRef ds:uri="http://www.w3.org/XML/1998/namespace"/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756157ac-83cb-402c-8c8f-b901f2b9e6b4"/>
  </ds:schemaRefs>
</ds:datastoreItem>
</file>

<file path=customXml/itemProps3.xml><?xml version="1.0" encoding="utf-8"?>
<ds:datastoreItem xmlns:ds="http://schemas.openxmlformats.org/officeDocument/2006/customXml" ds:itemID="{B019D55F-F7CF-48AB-BC2A-C61D82A68175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EA0F2F72-28B6-4C2A-83A2-181D4707E7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56157ac-83cb-402c-8c8f-b901f2b9e6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388</TotalTime>
  <Words>991</Words>
  <Application>Microsoft Office PowerPoint</Application>
  <PresentationFormat>Geniş ekran</PresentationFormat>
  <Paragraphs>85</Paragraphs>
  <Slides>26</Slides>
  <Notes>0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4</vt:i4>
      </vt:variant>
      <vt:variant>
        <vt:lpstr>Tema</vt:lpstr>
      </vt:variant>
      <vt:variant>
        <vt:i4>1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26</vt:i4>
      </vt:variant>
    </vt:vector>
  </HeadingPairs>
  <TitlesOfParts>
    <vt:vector size="32" baseType="lpstr">
      <vt:lpstr>Arial</vt:lpstr>
      <vt:lpstr>Calibri</vt:lpstr>
      <vt:lpstr>Microsoft Sans Serif</vt:lpstr>
      <vt:lpstr>Verdana</vt:lpstr>
      <vt:lpstr>Master</vt:lpstr>
      <vt:lpstr>think-cell Slide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mik.caglar@enerjisauretim.com</dc:creator>
  <cp:keywords>I4886p293727nO8</cp:keywords>
  <cp:lastModifiedBy>Microsoft hesabı</cp:lastModifiedBy>
  <cp:revision>1748</cp:revision>
  <cp:lastPrinted>2017-11-14T10:30:02Z</cp:lastPrinted>
  <dcterms:created xsi:type="dcterms:W3CDTF">2017-06-21T19:47:39Z</dcterms:created>
  <dcterms:modified xsi:type="dcterms:W3CDTF">2023-06-01T12:2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aec9a04-2715-4d9c-870f-2aee7fa3522d</vt:lpwstr>
  </property>
  <property fmtid="{D5CDD505-2E9C-101B-9397-08002B2CF9AE}" pid="3" name="ContentTypeId">
    <vt:lpwstr>0x010100867222097C95C24EB89B3CAAAC7BD2CD</vt:lpwstr>
  </property>
  <property fmtid="{D5CDD505-2E9C-101B-9397-08002B2CF9AE}" pid="4" name="TITUS">
    <vt:lpwstr>&lt;p align="right"&gt;Hizmete Özel&lt;/p&gt;;&lt;p align="right"&gt;Hizmete Özel&lt;/p&gt;</vt:lpwstr>
  </property>
  <property fmtid="{D5CDD505-2E9C-101B-9397-08002B2CF9AE}" pid="5" name="CLASSIFICATION">
    <vt:lpwstr>I4886p293727nO8</vt:lpwstr>
  </property>
  <property fmtid="{D5CDD505-2E9C-101B-9397-08002B2CF9AE}" pid="6" name="MSIP_Label_3b5b3886-c9b4-4725-88f8-c485766ea469_Enabled">
    <vt:lpwstr>true</vt:lpwstr>
  </property>
  <property fmtid="{D5CDD505-2E9C-101B-9397-08002B2CF9AE}" pid="7" name="MSIP_Label_3b5b3886-c9b4-4725-88f8-c485766ea469_SetDate">
    <vt:lpwstr>2021-04-16T05:54:18Z</vt:lpwstr>
  </property>
  <property fmtid="{D5CDD505-2E9C-101B-9397-08002B2CF9AE}" pid="8" name="MSIP_Label_3b5b3886-c9b4-4725-88f8-c485766ea469_Method">
    <vt:lpwstr>Standard</vt:lpwstr>
  </property>
  <property fmtid="{D5CDD505-2E9C-101B-9397-08002B2CF9AE}" pid="9" name="MSIP_Label_3b5b3886-c9b4-4725-88f8-c485766ea469_Name">
    <vt:lpwstr>Genel</vt:lpwstr>
  </property>
  <property fmtid="{D5CDD505-2E9C-101B-9397-08002B2CF9AE}" pid="10" name="MSIP_Label_3b5b3886-c9b4-4725-88f8-c485766ea469_SiteId">
    <vt:lpwstr>a730caa6-12ef-4586-9f28-6cfc59c76a6a</vt:lpwstr>
  </property>
  <property fmtid="{D5CDD505-2E9C-101B-9397-08002B2CF9AE}" pid="11" name="MSIP_Label_3b5b3886-c9b4-4725-88f8-c485766ea469_ActionId">
    <vt:lpwstr>46bf5537-af18-4f2c-8ddf-7b1ab4392e81</vt:lpwstr>
  </property>
  <property fmtid="{D5CDD505-2E9C-101B-9397-08002B2CF9AE}" pid="12" name="MSIP_Label_3b5b3886-c9b4-4725-88f8-c485766ea469_ContentBits">
    <vt:lpwstr>2</vt:lpwstr>
  </property>
</Properties>
</file>